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4"/>
    <p:sldMasterId id="2147483761" r:id="rId5"/>
  </p:sldMasterIdLst>
  <p:notesMasterIdLst>
    <p:notesMasterId r:id="rId24"/>
  </p:notesMasterIdLst>
  <p:handoutMasterIdLst>
    <p:handoutMasterId r:id="rId25"/>
  </p:handoutMasterIdLst>
  <p:sldIdLst>
    <p:sldId id="265" r:id="rId6"/>
    <p:sldId id="271" r:id="rId7"/>
    <p:sldId id="278" r:id="rId8"/>
    <p:sldId id="2147471113" r:id="rId9"/>
    <p:sldId id="2147471111" r:id="rId10"/>
    <p:sldId id="2147471110" r:id="rId11"/>
    <p:sldId id="279" r:id="rId12"/>
    <p:sldId id="283" r:id="rId13"/>
    <p:sldId id="272" r:id="rId14"/>
    <p:sldId id="2147471109" r:id="rId15"/>
    <p:sldId id="2147471115" r:id="rId16"/>
    <p:sldId id="2147471114" r:id="rId17"/>
    <p:sldId id="2147471112" r:id="rId18"/>
    <p:sldId id="2076138264" r:id="rId19"/>
    <p:sldId id="2147471116" r:id="rId20"/>
    <p:sldId id="2076138265" r:id="rId21"/>
    <p:sldId id="284" r:id="rId22"/>
    <p:sldId id="2076138266" r:id="rId23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DEE9"/>
    <a:srgbClr val="399D91"/>
    <a:srgbClr val="EFE6E6"/>
    <a:srgbClr val="58B6C0"/>
    <a:srgbClr val="657E93"/>
    <a:srgbClr val="000000"/>
    <a:srgbClr val="6EC4BC"/>
    <a:srgbClr val="A2B0CA"/>
    <a:srgbClr val="879ABB"/>
    <a:srgbClr val="69C6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FF35D8-D3A3-47DD-A7B0-61FCE1F10198}" v="4" dt="2024-09-26T13:40:49.640"/>
    <p1510:client id="{83AE2A6F-2D47-46DC-8967-3F7EE77593BE}" v="296" dt="2024-09-26T17:09:48.797"/>
    <p1510:client id="{CEB86677-4975-98AA-6A89-0625F2D47507}" v="7" dt="2024-09-26T17:54:49.9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144" y="33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s Necker" userId="S::mats_nckr.de#ext#@microsoft.onmicrosoft.com::7b7f720c-bbb1-4567-830d-88a700af588c" providerId="AD" clId="Web-{CEB86677-4975-98AA-6A89-0625F2D47507}"/>
    <pc:docChg chg="addSld delSld modSld">
      <pc:chgData name="Mats Necker" userId="S::mats_nckr.de#ext#@microsoft.onmicrosoft.com::7b7f720c-bbb1-4567-830d-88a700af588c" providerId="AD" clId="Web-{CEB86677-4975-98AA-6A89-0625F2D47507}" dt="2024-09-26T17:54:49.903" v="6" actId="14100"/>
      <pc:docMkLst>
        <pc:docMk/>
      </pc:docMkLst>
      <pc:sldChg chg="modSp add">
        <pc:chgData name="Mats Necker" userId="S::mats_nckr.de#ext#@microsoft.onmicrosoft.com::7b7f720c-bbb1-4567-830d-88a700af588c" providerId="AD" clId="Web-{CEB86677-4975-98AA-6A89-0625F2D47507}" dt="2024-09-26T17:54:49.903" v="6" actId="14100"/>
        <pc:sldMkLst>
          <pc:docMk/>
          <pc:sldMk cId="186016401" sldId="2076138266"/>
        </pc:sldMkLst>
        <pc:spChg chg="mod">
          <ac:chgData name="Mats Necker" userId="S::mats_nckr.de#ext#@microsoft.onmicrosoft.com::7b7f720c-bbb1-4567-830d-88a700af588c" providerId="AD" clId="Web-{CEB86677-4975-98AA-6A89-0625F2D47507}" dt="2024-09-26T17:54:49.903" v="6" actId="14100"/>
          <ac:spMkLst>
            <pc:docMk/>
            <pc:sldMk cId="186016401" sldId="2076138266"/>
            <ac:spMk id="2" creationId="{2EB3B23D-45F8-A297-E082-94E629C21F42}"/>
          </ac:spMkLst>
        </pc:spChg>
      </pc:sldChg>
      <pc:sldChg chg="del">
        <pc:chgData name="Mats Necker" userId="S::mats_nckr.de#ext#@microsoft.onmicrosoft.com::7b7f720c-bbb1-4567-830d-88a700af588c" providerId="AD" clId="Web-{CEB86677-4975-98AA-6A89-0625F2D47507}" dt="2024-09-26T17:54:27.745" v="1"/>
        <pc:sldMkLst>
          <pc:docMk/>
          <pc:sldMk cId="1354022663" sldId="2147471117"/>
        </pc:sldMkLst>
      </pc:sldChg>
    </pc:docChg>
  </pc:docChgLst>
  <pc:docChgLst>
    <pc:chgData name="Mats Necker" userId="2d97bddf-6881-4b42-b7ae-84f5465d8fc5" providerId="ADAL" clId="{83AE2A6F-2D47-46DC-8967-3F7EE77593BE}"/>
    <pc:docChg chg="undo custSel addSld delSld modSld sldOrd modMainMaster">
      <pc:chgData name="Mats Necker" userId="2d97bddf-6881-4b42-b7ae-84f5465d8fc5" providerId="ADAL" clId="{83AE2A6F-2D47-46DC-8967-3F7EE77593BE}" dt="2024-09-26T22:24:11.967" v="1877" actId="21"/>
      <pc:docMkLst>
        <pc:docMk/>
      </pc:docMkLst>
      <pc:sldChg chg="del">
        <pc:chgData name="Mats Necker" userId="2d97bddf-6881-4b42-b7ae-84f5465d8fc5" providerId="ADAL" clId="{83AE2A6F-2D47-46DC-8967-3F7EE77593BE}" dt="2024-09-26T03:46:55.191" v="0" actId="47"/>
        <pc:sldMkLst>
          <pc:docMk/>
          <pc:sldMk cId="4181419580" sldId="258"/>
        </pc:sldMkLst>
      </pc:sldChg>
      <pc:sldChg chg="del">
        <pc:chgData name="Mats Necker" userId="2d97bddf-6881-4b42-b7ae-84f5465d8fc5" providerId="ADAL" clId="{83AE2A6F-2D47-46DC-8967-3F7EE77593BE}" dt="2024-09-26T06:29:13.468" v="866" actId="47"/>
        <pc:sldMkLst>
          <pc:docMk/>
          <pc:sldMk cId="1658659678" sldId="259"/>
        </pc:sldMkLst>
      </pc:sldChg>
      <pc:sldChg chg="del">
        <pc:chgData name="Mats Necker" userId="2d97bddf-6881-4b42-b7ae-84f5465d8fc5" providerId="ADAL" clId="{83AE2A6F-2D47-46DC-8967-3F7EE77593BE}" dt="2024-09-26T03:47:40.396" v="34" actId="47"/>
        <pc:sldMkLst>
          <pc:docMk/>
          <pc:sldMk cId="143613080" sldId="260"/>
        </pc:sldMkLst>
      </pc:sldChg>
      <pc:sldChg chg="del">
        <pc:chgData name="Mats Necker" userId="2d97bddf-6881-4b42-b7ae-84f5465d8fc5" providerId="ADAL" clId="{83AE2A6F-2D47-46DC-8967-3F7EE77593BE}" dt="2024-09-26T04:48:39.547" v="37" actId="47"/>
        <pc:sldMkLst>
          <pc:docMk/>
          <pc:sldMk cId="3189144396" sldId="263"/>
        </pc:sldMkLst>
      </pc:sldChg>
      <pc:sldChg chg="del">
        <pc:chgData name="Mats Necker" userId="2d97bddf-6881-4b42-b7ae-84f5465d8fc5" providerId="ADAL" clId="{83AE2A6F-2D47-46DC-8967-3F7EE77593BE}" dt="2024-09-26T03:46:55.191" v="0" actId="47"/>
        <pc:sldMkLst>
          <pc:docMk/>
          <pc:sldMk cId="1803679550" sldId="264"/>
        </pc:sldMkLst>
      </pc:sldChg>
      <pc:sldChg chg="modSp mod">
        <pc:chgData name="Mats Necker" userId="2d97bddf-6881-4b42-b7ae-84f5465d8fc5" providerId="ADAL" clId="{83AE2A6F-2D47-46DC-8967-3F7EE77593BE}" dt="2024-09-26T17:00:25.250" v="1729"/>
        <pc:sldMkLst>
          <pc:docMk/>
          <pc:sldMk cId="910679416" sldId="265"/>
        </pc:sldMkLst>
        <pc:spChg chg="mod">
          <ac:chgData name="Mats Necker" userId="2d97bddf-6881-4b42-b7ae-84f5465d8fc5" providerId="ADAL" clId="{83AE2A6F-2D47-46DC-8967-3F7EE77593BE}" dt="2024-09-26T17:00:25.250" v="1729"/>
          <ac:spMkLst>
            <pc:docMk/>
            <pc:sldMk cId="910679416" sldId="265"/>
            <ac:spMk id="2" creationId="{6CDFAFEF-F33B-31E8-36E8-B997321F2FC4}"/>
          </ac:spMkLst>
        </pc:spChg>
      </pc:sldChg>
      <pc:sldChg chg="del">
        <pc:chgData name="Mats Necker" userId="2d97bddf-6881-4b42-b7ae-84f5465d8fc5" providerId="ADAL" clId="{83AE2A6F-2D47-46DC-8967-3F7EE77593BE}" dt="2024-09-26T04:48:37.699" v="36" actId="47"/>
        <pc:sldMkLst>
          <pc:docMk/>
          <pc:sldMk cId="3723134860" sldId="266"/>
        </pc:sldMkLst>
      </pc:sldChg>
      <pc:sldChg chg="addSp delSp modSp del mod ord modAnim">
        <pc:chgData name="Mats Necker" userId="2d97bddf-6881-4b42-b7ae-84f5465d8fc5" providerId="ADAL" clId="{83AE2A6F-2D47-46DC-8967-3F7EE77593BE}" dt="2024-09-26T13:37:36.887" v="929" actId="47"/>
        <pc:sldMkLst>
          <pc:docMk/>
          <pc:sldMk cId="1663648109" sldId="267"/>
        </pc:sldMkLst>
        <pc:spChg chg="add del mod">
          <ac:chgData name="Mats Necker" userId="2d97bddf-6881-4b42-b7ae-84f5465d8fc5" providerId="ADAL" clId="{83AE2A6F-2D47-46DC-8967-3F7EE77593BE}" dt="2024-09-26T04:48:54.392" v="40" actId="478"/>
          <ac:spMkLst>
            <pc:docMk/>
            <pc:sldMk cId="1663648109" sldId="267"/>
            <ac:spMk id="2" creationId="{33CFCC0F-E688-7E65-C307-0A870AA56119}"/>
          </ac:spMkLst>
        </pc:spChg>
        <pc:spChg chg="add mod">
          <ac:chgData name="Mats Necker" userId="2d97bddf-6881-4b42-b7ae-84f5465d8fc5" providerId="ADAL" clId="{83AE2A6F-2D47-46DC-8967-3F7EE77593BE}" dt="2024-09-26T04:49:01.860" v="41" actId="1076"/>
          <ac:spMkLst>
            <pc:docMk/>
            <pc:sldMk cId="1663648109" sldId="267"/>
            <ac:spMk id="6" creationId="{7D8BDD36-C023-1298-7060-E3854DD7C439}"/>
          </ac:spMkLst>
        </pc:spChg>
        <pc:spChg chg="mod">
          <ac:chgData name="Mats Necker" userId="2d97bddf-6881-4b42-b7ae-84f5465d8fc5" providerId="ADAL" clId="{83AE2A6F-2D47-46DC-8967-3F7EE77593BE}" dt="2024-09-26T04:49:08.171" v="60" actId="20577"/>
          <ac:spMkLst>
            <pc:docMk/>
            <pc:sldMk cId="1663648109" sldId="267"/>
            <ac:spMk id="10" creationId="{D35F3F2D-DB14-4C0D-7E53-15AE42FB69F5}"/>
          </ac:spMkLst>
        </pc:spChg>
        <pc:spChg chg="del">
          <ac:chgData name="Mats Necker" userId="2d97bddf-6881-4b42-b7ae-84f5465d8fc5" providerId="ADAL" clId="{83AE2A6F-2D47-46DC-8967-3F7EE77593BE}" dt="2024-09-26T04:48:47.159" v="38" actId="478"/>
          <ac:spMkLst>
            <pc:docMk/>
            <pc:sldMk cId="1663648109" sldId="267"/>
            <ac:spMk id="11" creationId="{F4B50108-2535-C980-BF4B-48275CA167CA}"/>
          </ac:spMkLst>
        </pc:spChg>
        <pc:spChg chg="add mod">
          <ac:chgData name="Mats Necker" userId="2d97bddf-6881-4b42-b7ae-84f5465d8fc5" providerId="ADAL" clId="{83AE2A6F-2D47-46DC-8967-3F7EE77593BE}" dt="2024-09-26T04:49:01.860" v="41" actId="1076"/>
          <ac:spMkLst>
            <pc:docMk/>
            <pc:sldMk cId="1663648109" sldId="267"/>
            <ac:spMk id="15" creationId="{671AA59D-BF3D-DE69-5185-6873DF089602}"/>
          </ac:spMkLst>
        </pc:spChg>
        <pc:spChg chg="add del mod">
          <ac:chgData name="Mats Necker" userId="2d97bddf-6881-4b42-b7ae-84f5465d8fc5" providerId="ADAL" clId="{83AE2A6F-2D47-46DC-8967-3F7EE77593BE}" dt="2024-09-26T04:49:16.155" v="62" actId="478"/>
          <ac:spMkLst>
            <pc:docMk/>
            <pc:sldMk cId="1663648109" sldId="267"/>
            <ac:spMk id="16" creationId="{CCCFC576-9F07-ACE7-2F9D-D2BC9A10B48D}"/>
          </ac:spMkLst>
        </pc:spChg>
        <pc:spChg chg="add mod">
          <ac:chgData name="Mats Necker" userId="2d97bddf-6881-4b42-b7ae-84f5465d8fc5" providerId="ADAL" clId="{83AE2A6F-2D47-46DC-8967-3F7EE77593BE}" dt="2024-09-26T04:49:01.860" v="41" actId="1076"/>
          <ac:spMkLst>
            <pc:docMk/>
            <pc:sldMk cId="1663648109" sldId="267"/>
            <ac:spMk id="18" creationId="{6DF3B7A4-34EA-1990-D44A-78C144FD9A11}"/>
          </ac:spMkLst>
        </pc:spChg>
        <pc:spChg chg="add mod">
          <ac:chgData name="Mats Necker" userId="2d97bddf-6881-4b42-b7ae-84f5465d8fc5" providerId="ADAL" clId="{83AE2A6F-2D47-46DC-8967-3F7EE77593BE}" dt="2024-09-26T04:49:01.860" v="41" actId="1076"/>
          <ac:spMkLst>
            <pc:docMk/>
            <pc:sldMk cId="1663648109" sldId="267"/>
            <ac:spMk id="19" creationId="{A933C90A-C4B7-D94A-DC19-5D1BCC7ECF3F}"/>
          </ac:spMkLst>
        </pc:spChg>
        <pc:grpChg chg="add mod">
          <ac:chgData name="Mats Necker" userId="2d97bddf-6881-4b42-b7ae-84f5465d8fc5" providerId="ADAL" clId="{83AE2A6F-2D47-46DC-8967-3F7EE77593BE}" dt="2024-09-26T04:49:01.860" v="41" actId="1076"/>
          <ac:grpSpMkLst>
            <pc:docMk/>
            <pc:sldMk cId="1663648109" sldId="267"/>
            <ac:grpSpMk id="3" creationId="{D1B6CC3B-73CE-5BB3-4FE8-7070F3D0B6A3}"/>
          </ac:grpSpMkLst>
        </pc:grpChg>
        <pc:picChg chg="mod">
          <ac:chgData name="Mats Necker" userId="2d97bddf-6881-4b42-b7ae-84f5465d8fc5" providerId="ADAL" clId="{83AE2A6F-2D47-46DC-8967-3F7EE77593BE}" dt="2024-09-26T04:48:47.956" v="39"/>
          <ac:picMkLst>
            <pc:docMk/>
            <pc:sldMk cId="1663648109" sldId="267"/>
            <ac:picMk id="4" creationId="{3C15E09B-64D5-BCA0-F331-B618212013CF}"/>
          </ac:picMkLst>
        </pc:picChg>
        <pc:picChg chg="mod">
          <ac:chgData name="Mats Necker" userId="2d97bddf-6881-4b42-b7ae-84f5465d8fc5" providerId="ADAL" clId="{83AE2A6F-2D47-46DC-8967-3F7EE77593BE}" dt="2024-09-26T04:48:47.956" v="39"/>
          <ac:picMkLst>
            <pc:docMk/>
            <pc:sldMk cId="1663648109" sldId="267"/>
            <ac:picMk id="5" creationId="{2313F233-D19E-9271-C314-A5618E930EE0}"/>
          </ac:picMkLst>
        </pc:picChg>
        <pc:picChg chg="add mod">
          <ac:chgData name="Mats Necker" userId="2d97bddf-6881-4b42-b7ae-84f5465d8fc5" providerId="ADAL" clId="{83AE2A6F-2D47-46DC-8967-3F7EE77593BE}" dt="2024-09-26T04:49:01.860" v="41" actId="1076"/>
          <ac:picMkLst>
            <pc:docMk/>
            <pc:sldMk cId="1663648109" sldId="267"/>
            <ac:picMk id="7" creationId="{CCA3185F-E946-0FE7-958D-06CEFACB7F37}"/>
          </ac:picMkLst>
        </pc:picChg>
        <pc:picChg chg="add mod">
          <ac:chgData name="Mats Necker" userId="2d97bddf-6881-4b42-b7ae-84f5465d8fc5" providerId="ADAL" clId="{83AE2A6F-2D47-46DC-8967-3F7EE77593BE}" dt="2024-09-26T04:49:01.860" v="41" actId="1076"/>
          <ac:picMkLst>
            <pc:docMk/>
            <pc:sldMk cId="1663648109" sldId="267"/>
            <ac:picMk id="8" creationId="{81FB0DBB-90AE-6742-4BC0-57ED4C3AFA8C}"/>
          </ac:picMkLst>
        </pc:picChg>
        <pc:picChg chg="add mod">
          <ac:chgData name="Mats Necker" userId="2d97bddf-6881-4b42-b7ae-84f5465d8fc5" providerId="ADAL" clId="{83AE2A6F-2D47-46DC-8967-3F7EE77593BE}" dt="2024-09-26T04:49:01.860" v="41" actId="1076"/>
          <ac:picMkLst>
            <pc:docMk/>
            <pc:sldMk cId="1663648109" sldId="267"/>
            <ac:picMk id="9" creationId="{494CCE2E-1E1F-565A-058E-38FA46B03FF2}"/>
          </ac:picMkLst>
        </pc:picChg>
        <pc:picChg chg="add mod">
          <ac:chgData name="Mats Necker" userId="2d97bddf-6881-4b42-b7ae-84f5465d8fc5" providerId="ADAL" clId="{83AE2A6F-2D47-46DC-8967-3F7EE77593BE}" dt="2024-09-26T04:49:01.860" v="41" actId="1076"/>
          <ac:picMkLst>
            <pc:docMk/>
            <pc:sldMk cId="1663648109" sldId="267"/>
            <ac:picMk id="12" creationId="{050EC0F6-765E-BEAF-F27F-1E38DAFD6758}"/>
          </ac:picMkLst>
        </pc:picChg>
        <pc:cxnChg chg="add mod">
          <ac:chgData name="Mats Necker" userId="2d97bddf-6881-4b42-b7ae-84f5465d8fc5" providerId="ADAL" clId="{83AE2A6F-2D47-46DC-8967-3F7EE77593BE}" dt="2024-09-26T04:49:01.860" v="41" actId="1076"/>
          <ac:cxnSpMkLst>
            <pc:docMk/>
            <pc:sldMk cId="1663648109" sldId="267"/>
            <ac:cxnSpMk id="13" creationId="{581D02C7-096A-A401-57D7-225C44E928A9}"/>
          </ac:cxnSpMkLst>
        </pc:cxnChg>
        <pc:cxnChg chg="add mod">
          <ac:chgData name="Mats Necker" userId="2d97bddf-6881-4b42-b7ae-84f5465d8fc5" providerId="ADAL" clId="{83AE2A6F-2D47-46DC-8967-3F7EE77593BE}" dt="2024-09-26T04:49:01.860" v="41" actId="1076"/>
          <ac:cxnSpMkLst>
            <pc:docMk/>
            <pc:sldMk cId="1663648109" sldId="267"/>
            <ac:cxnSpMk id="14" creationId="{0D1957A1-85D5-3FC7-E980-04007B951635}"/>
          </ac:cxnSpMkLst>
        </pc:cxnChg>
        <pc:cxnChg chg="add mod">
          <ac:chgData name="Mats Necker" userId="2d97bddf-6881-4b42-b7ae-84f5465d8fc5" providerId="ADAL" clId="{83AE2A6F-2D47-46DC-8967-3F7EE77593BE}" dt="2024-09-26T04:49:01.860" v="41" actId="1076"/>
          <ac:cxnSpMkLst>
            <pc:docMk/>
            <pc:sldMk cId="1663648109" sldId="267"/>
            <ac:cxnSpMk id="17" creationId="{541BCBDE-9F96-B6E7-63D7-6C29EB4B428C}"/>
          </ac:cxnSpMkLst>
        </pc:cxnChg>
      </pc:sldChg>
      <pc:sldChg chg="del">
        <pc:chgData name="Mats Necker" userId="2d97bddf-6881-4b42-b7ae-84f5465d8fc5" providerId="ADAL" clId="{83AE2A6F-2D47-46DC-8967-3F7EE77593BE}" dt="2024-09-26T03:47:30.045" v="33" actId="47"/>
        <pc:sldMkLst>
          <pc:docMk/>
          <pc:sldMk cId="3694836417" sldId="269"/>
        </pc:sldMkLst>
      </pc:sldChg>
      <pc:sldChg chg="del">
        <pc:chgData name="Mats Necker" userId="2d97bddf-6881-4b42-b7ae-84f5465d8fc5" providerId="ADAL" clId="{83AE2A6F-2D47-46DC-8967-3F7EE77593BE}" dt="2024-09-26T03:47:30.045" v="33" actId="47"/>
        <pc:sldMkLst>
          <pc:docMk/>
          <pc:sldMk cId="18562230" sldId="270"/>
        </pc:sldMkLst>
      </pc:sldChg>
      <pc:sldChg chg="modSp mod">
        <pc:chgData name="Mats Necker" userId="2d97bddf-6881-4b42-b7ae-84f5465d8fc5" providerId="ADAL" clId="{83AE2A6F-2D47-46DC-8967-3F7EE77593BE}" dt="2024-09-26T04:53:07.955" v="159" actId="20577"/>
        <pc:sldMkLst>
          <pc:docMk/>
          <pc:sldMk cId="298352028" sldId="271"/>
        </pc:sldMkLst>
        <pc:spChg chg="mod">
          <ac:chgData name="Mats Necker" userId="2d97bddf-6881-4b42-b7ae-84f5465d8fc5" providerId="ADAL" clId="{83AE2A6F-2D47-46DC-8967-3F7EE77593BE}" dt="2024-09-26T04:53:07.955" v="159" actId="20577"/>
          <ac:spMkLst>
            <pc:docMk/>
            <pc:sldMk cId="298352028" sldId="271"/>
            <ac:spMk id="5" creationId="{3F0D31A4-6EC6-2009-708E-40CF11ADF388}"/>
          </ac:spMkLst>
        </pc:spChg>
      </pc:sldChg>
      <pc:sldChg chg="del">
        <pc:chgData name="Mats Necker" userId="2d97bddf-6881-4b42-b7ae-84f5465d8fc5" providerId="ADAL" clId="{83AE2A6F-2D47-46DC-8967-3F7EE77593BE}" dt="2024-09-26T03:47:51.391" v="35" actId="47"/>
        <pc:sldMkLst>
          <pc:docMk/>
          <pc:sldMk cId="1354022663" sldId="272"/>
        </pc:sldMkLst>
      </pc:sldChg>
      <pc:sldChg chg="modSp mod modClrScheme chgLayout">
        <pc:chgData name="Mats Necker" userId="2d97bddf-6881-4b42-b7ae-84f5465d8fc5" providerId="ADAL" clId="{83AE2A6F-2D47-46DC-8967-3F7EE77593BE}" dt="2024-09-26T16:15:33.982" v="1307" actId="1076"/>
        <pc:sldMkLst>
          <pc:docMk/>
          <pc:sldMk cId="2792437428" sldId="272"/>
        </pc:sldMkLst>
        <pc:spChg chg="mod ord">
          <ac:chgData name="Mats Necker" userId="2d97bddf-6881-4b42-b7ae-84f5465d8fc5" providerId="ADAL" clId="{83AE2A6F-2D47-46DC-8967-3F7EE77593BE}" dt="2024-09-26T16:15:26.509" v="1306" actId="700"/>
          <ac:spMkLst>
            <pc:docMk/>
            <pc:sldMk cId="2792437428" sldId="272"/>
            <ac:spMk id="3" creationId="{00000000-0000-0000-0000-000000000000}"/>
          </ac:spMkLst>
        </pc:spChg>
        <pc:graphicFrameChg chg="mod ord">
          <ac:chgData name="Mats Necker" userId="2d97bddf-6881-4b42-b7ae-84f5465d8fc5" providerId="ADAL" clId="{83AE2A6F-2D47-46DC-8967-3F7EE77593BE}" dt="2024-09-26T16:15:33.982" v="1307" actId="1076"/>
          <ac:graphicFrameMkLst>
            <pc:docMk/>
            <pc:sldMk cId="2792437428" sldId="272"/>
            <ac:graphicFrameMk id="27" creationId="{22FC70E7-3951-456E-9504-4C9CD36FF99D}"/>
          </ac:graphicFrameMkLst>
        </pc:graphicFrameChg>
      </pc:sldChg>
      <pc:sldChg chg="del">
        <pc:chgData name="Mats Necker" userId="2d97bddf-6881-4b42-b7ae-84f5465d8fc5" providerId="ADAL" clId="{83AE2A6F-2D47-46DC-8967-3F7EE77593BE}" dt="2024-09-26T03:47:40.396" v="34" actId="47"/>
        <pc:sldMkLst>
          <pc:docMk/>
          <pc:sldMk cId="1292660161" sldId="275"/>
        </pc:sldMkLst>
      </pc:sldChg>
      <pc:sldChg chg="del">
        <pc:chgData name="Mats Necker" userId="2d97bddf-6881-4b42-b7ae-84f5465d8fc5" providerId="ADAL" clId="{83AE2A6F-2D47-46DC-8967-3F7EE77593BE}" dt="2024-09-26T03:47:51.391" v="35" actId="47"/>
        <pc:sldMkLst>
          <pc:docMk/>
          <pc:sldMk cId="1220853326" sldId="276"/>
        </pc:sldMkLst>
      </pc:sldChg>
      <pc:sldChg chg="del">
        <pc:chgData name="Mats Necker" userId="2d97bddf-6881-4b42-b7ae-84f5465d8fc5" providerId="ADAL" clId="{83AE2A6F-2D47-46DC-8967-3F7EE77593BE}" dt="2024-09-26T17:09:50.748" v="1864" actId="47"/>
        <pc:sldMkLst>
          <pc:docMk/>
          <pc:sldMk cId="1197300501" sldId="277"/>
        </pc:sldMkLst>
      </pc:sldChg>
      <pc:sldChg chg="addSp delSp modSp new mod modClrScheme chgLayout">
        <pc:chgData name="Mats Necker" userId="2d97bddf-6881-4b42-b7ae-84f5465d8fc5" providerId="ADAL" clId="{83AE2A6F-2D47-46DC-8967-3F7EE77593BE}" dt="2024-09-26T15:48:04.211" v="1095" actId="20577"/>
        <pc:sldMkLst>
          <pc:docMk/>
          <pc:sldMk cId="2369219532" sldId="278"/>
        </pc:sldMkLst>
        <pc:spChg chg="del">
          <ac:chgData name="Mats Necker" userId="2d97bddf-6881-4b42-b7ae-84f5465d8fc5" providerId="ADAL" clId="{83AE2A6F-2D47-46DC-8967-3F7EE77593BE}" dt="2024-09-26T04:53:34.860" v="161" actId="700"/>
          <ac:spMkLst>
            <pc:docMk/>
            <pc:sldMk cId="2369219532" sldId="278"/>
            <ac:spMk id="2" creationId="{EF098A33-B7E6-DFF6-B69A-6BE2138D1AB5}"/>
          </ac:spMkLst>
        </pc:spChg>
        <pc:spChg chg="del">
          <ac:chgData name="Mats Necker" userId="2d97bddf-6881-4b42-b7ae-84f5465d8fc5" providerId="ADAL" clId="{83AE2A6F-2D47-46DC-8967-3F7EE77593BE}" dt="2024-09-26T04:53:34.860" v="161" actId="700"/>
          <ac:spMkLst>
            <pc:docMk/>
            <pc:sldMk cId="2369219532" sldId="278"/>
            <ac:spMk id="3" creationId="{E1C717B4-5704-D869-1477-C924699683C0}"/>
          </ac:spMkLst>
        </pc:spChg>
        <pc:spChg chg="add mod">
          <ac:chgData name="Mats Necker" userId="2d97bddf-6881-4b42-b7ae-84f5465d8fc5" providerId="ADAL" clId="{83AE2A6F-2D47-46DC-8967-3F7EE77593BE}" dt="2024-09-26T15:48:04.211" v="1095" actId="20577"/>
          <ac:spMkLst>
            <pc:docMk/>
            <pc:sldMk cId="2369219532" sldId="278"/>
            <ac:spMk id="4" creationId="{A0EFE173-BCD1-0D9A-DFCC-F46F1A6533F0}"/>
          </ac:spMkLst>
        </pc:spChg>
        <pc:spChg chg="add mod">
          <ac:chgData name="Mats Necker" userId="2d97bddf-6881-4b42-b7ae-84f5465d8fc5" providerId="ADAL" clId="{83AE2A6F-2D47-46DC-8967-3F7EE77593BE}" dt="2024-09-26T05:04:05.418" v="612" actId="403"/>
          <ac:spMkLst>
            <pc:docMk/>
            <pc:sldMk cId="2369219532" sldId="278"/>
            <ac:spMk id="5" creationId="{41F542F9-160A-44B1-CC63-BE2B4447C51C}"/>
          </ac:spMkLst>
        </pc:spChg>
      </pc:sldChg>
      <pc:sldChg chg="addSp delSp modSp new mod modClrScheme modAnim chgLayout">
        <pc:chgData name="Mats Necker" userId="2d97bddf-6881-4b42-b7ae-84f5465d8fc5" providerId="ADAL" clId="{83AE2A6F-2D47-46DC-8967-3F7EE77593BE}" dt="2024-09-26T16:12:50.024" v="1299"/>
        <pc:sldMkLst>
          <pc:docMk/>
          <pc:sldMk cId="3374304043" sldId="279"/>
        </pc:sldMkLst>
        <pc:spChg chg="del mod ord">
          <ac:chgData name="Mats Necker" userId="2d97bddf-6881-4b42-b7ae-84f5465d8fc5" providerId="ADAL" clId="{83AE2A6F-2D47-46DC-8967-3F7EE77593BE}" dt="2024-09-26T04:54:10.649" v="210" actId="700"/>
          <ac:spMkLst>
            <pc:docMk/>
            <pc:sldMk cId="3374304043" sldId="279"/>
            <ac:spMk id="2" creationId="{EAA7EFA6-C318-D107-8DBB-DA69434F22CB}"/>
          </ac:spMkLst>
        </pc:spChg>
        <pc:spChg chg="add mod ord">
          <ac:chgData name="Mats Necker" userId="2d97bddf-6881-4b42-b7ae-84f5465d8fc5" providerId="ADAL" clId="{83AE2A6F-2D47-46DC-8967-3F7EE77593BE}" dt="2024-09-26T04:54:23.454" v="261" actId="20577"/>
          <ac:spMkLst>
            <pc:docMk/>
            <pc:sldMk cId="3374304043" sldId="279"/>
            <ac:spMk id="3" creationId="{5E17B313-DD2F-8516-7AF3-2A29A565390B}"/>
          </ac:spMkLst>
        </pc:spChg>
        <pc:spChg chg="add mod ord">
          <ac:chgData name="Mats Necker" userId="2d97bddf-6881-4b42-b7ae-84f5465d8fc5" providerId="ADAL" clId="{83AE2A6F-2D47-46DC-8967-3F7EE77593BE}" dt="2024-09-26T04:55:49.984" v="333" actId="20577"/>
          <ac:spMkLst>
            <pc:docMk/>
            <pc:sldMk cId="3374304043" sldId="279"/>
            <ac:spMk id="4" creationId="{DA4BDD07-08FD-99D4-BEC6-6808B332CD8D}"/>
          </ac:spMkLst>
        </pc:spChg>
        <pc:spChg chg="mod">
          <ac:chgData name="Mats Necker" userId="2d97bddf-6881-4b42-b7ae-84f5465d8fc5" providerId="ADAL" clId="{83AE2A6F-2D47-46DC-8967-3F7EE77593BE}" dt="2024-09-26T04:55:54.496" v="335" actId="1076"/>
          <ac:spMkLst>
            <pc:docMk/>
            <pc:sldMk cId="3374304043" sldId="279"/>
            <ac:spMk id="6" creationId="{6E4F46B4-E3BA-9AA9-AC60-90C75FB1C0E7}"/>
          </ac:spMkLst>
        </pc:spChg>
        <pc:spChg chg="add mod">
          <ac:chgData name="Mats Necker" userId="2d97bddf-6881-4b42-b7ae-84f5465d8fc5" providerId="ADAL" clId="{83AE2A6F-2D47-46DC-8967-3F7EE77593BE}" dt="2024-09-26T04:55:54.496" v="335" actId="1076"/>
          <ac:spMkLst>
            <pc:docMk/>
            <pc:sldMk cId="3374304043" sldId="279"/>
            <ac:spMk id="8" creationId="{BC5C4E07-6A2F-264D-31F7-C2227939505E}"/>
          </ac:spMkLst>
        </pc:spChg>
        <pc:spChg chg="add mod">
          <ac:chgData name="Mats Necker" userId="2d97bddf-6881-4b42-b7ae-84f5465d8fc5" providerId="ADAL" clId="{83AE2A6F-2D47-46DC-8967-3F7EE77593BE}" dt="2024-09-26T04:55:54.496" v="335" actId="1076"/>
          <ac:spMkLst>
            <pc:docMk/>
            <pc:sldMk cId="3374304043" sldId="279"/>
            <ac:spMk id="9" creationId="{7ED59B56-01CB-6CF9-00BE-492BC94BA6F5}"/>
          </ac:spMkLst>
        </pc:spChg>
        <pc:spChg chg="add mod">
          <ac:chgData name="Mats Necker" userId="2d97bddf-6881-4b42-b7ae-84f5465d8fc5" providerId="ADAL" clId="{83AE2A6F-2D47-46DC-8967-3F7EE77593BE}" dt="2024-09-26T04:55:54.496" v="335" actId="1076"/>
          <ac:spMkLst>
            <pc:docMk/>
            <pc:sldMk cId="3374304043" sldId="279"/>
            <ac:spMk id="11" creationId="{0D2DBFB1-A88C-B68A-B4CD-A585BA7C047D}"/>
          </ac:spMkLst>
        </pc:spChg>
        <pc:spChg chg="add mod">
          <ac:chgData name="Mats Necker" userId="2d97bddf-6881-4b42-b7ae-84f5465d8fc5" providerId="ADAL" clId="{83AE2A6F-2D47-46DC-8967-3F7EE77593BE}" dt="2024-09-26T04:55:54.496" v="335" actId="1076"/>
          <ac:spMkLst>
            <pc:docMk/>
            <pc:sldMk cId="3374304043" sldId="279"/>
            <ac:spMk id="12" creationId="{EFEFCA4D-20CC-804E-8C19-ACA8C34A4C60}"/>
          </ac:spMkLst>
        </pc:spChg>
        <pc:spChg chg="add mod">
          <ac:chgData name="Mats Necker" userId="2d97bddf-6881-4b42-b7ae-84f5465d8fc5" providerId="ADAL" clId="{83AE2A6F-2D47-46DC-8967-3F7EE77593BE}" dt="2024-09-26T16:00:35.428" v="1261" actId="1076"/>
          <ac:spMkLst>
            <pc:docMk/>
            <pc:sldMk cId="3374304043" sldId="279"/>
            <ac:spMk id="13" creationId="{B2471435-414F-8333-DE4B-C11AB97C0B74}"/>
          </ac:spMkLst>
        </pc:spChg>
        <pc:spChg chg="add mod">
          <ac:chgData name="Mats Necker" userId="2d97bddf-6881-4b42-b7ae-84f5465d8fc5" providerId="ADAL" clId="{83AE2A6F-2D47-46DC-8967-3F7EE77593BE}" dt="2024-09-26T04:55:54.496" v="335" actId="1076"/>
          <ac:spMkLst>
            <pc:docMk/>
            <pc:sldMk cId="3374304043" sldId="279"/>
            <ac:spMk id="15" creationId="{A615F4DF-6BA9-6428-D024-6B89149561B2}"/>
          </ac:spMkLst>
        </pc:spChg>
        <pc:spChg chg="add mod">
          <ac:chgData name="Mats Necker" userId="2d97bddf-6881-4b42-b7ae-84f5465d8fc5" providerId="ADAL" clId="{83AE2A6F-2D47-46DC-8967-3F7EE77593BE}" dt="2024-09-26T04:55:54.496" v="335" actId="1076"/>
          <ac:spMkLst>
            <pc:docMk/>
            <pc:sldMk cId="3374304043" sldId="279"/>
            <ac:spMk id="20" creationId="{E9C35AF1-EB6A-C21E-2829-2E4B48FBE8CA}"/>
          </ac:spMkLst>
        </pc:spChg>
        <pc:spChg chg="add mod">
          <ac:chgData name="Mats Necker" userId="2d97bddf-6881-4b42-b7ae-84f5465d8fc5" providerId="ADAL" clId="{83AE2A6F-2D47-46DC-8967-3F7EE77593BE}" dt="2024-09-26T04:55:54.496" v="335" actId="1076"/>
          <ac:spMkLst>
            <pc:docMk/>
            <pc:sldMk cId="3374304043" sldId="279"/>
            <ac:spMk id="21" creationId="{7C447B69-8984-6C6B-CBAE-A049DC5CC772}"/>
          </ac:spMkLst>
        </pc:spChg>
        <pc:spChg chg="add mod">
          <ac:chgData name="Mats Necker" userId="2d97bddf-6881-4b42-b7ae-84f5465d8fc5" providerId="ADAL" clId="{83AE2A6F-2D47-46DC-8967-3F7EE77593BE}" dt="2024-09-26T04:55:54.496" v="335" actId="1076"/>
          <ac:spMkLst>
            <pc:docMk/>
            <pc:sldMk cId="3374304043" sldId="279"/>
            <ac:spMk id="22" creationId="{11EED1F2-BB1C-0AA3-E5AC-970813305282}"/>
          </ac:spMkLst>
        </pc:spChg>
        <pc:spChg chg="add del mod">
          <ac:chgData name="Mats Necker" userId="2d97bddf-6881-4b42-b7ae-84f5465d8fc5" providerId="ADAL" clId="{83AE2A6F-2D47-46DC-8967-3F7EE77593BE}" dt="2024-09-26T15:59:18.856" v="1255" actId="478"/>
          <ac:spMkLst>
            <pc:docMk/>
            <pc:sldMk cId="3374304043" sldId="279"/>
            <ac:spMk id="23" creationId="{6BA31BCF-A982-4749-538E-1A44EFC65C48}"/>
          </ac:spMkLst>
        </pc:spChg>
        <pc:spChg chg="add mod">
          <ac:chgData name="Mats Necker" userId="2d97bddf-6881-4b42-b7ae-84f5465d8fc5" providerId="ADAL" clId="{83AE2A6F-2D47-46DC-8967-3F7EE77593BE}" dt="2024-09-26T16:11:53.835" v="1293" actId="20577"/>
          <ac:spMkLst>
            <pc:docMk/>
            <pc:sldMk cId="3374304043" sldId="279"/>
            <ac:spMk id="24" creationId="{D433F89E-0938-B3DD-58E5-1CBAF61B3EA9}"/>
          </ac:spMkLst>
        </pc:spChg>
        <pc:grpChg chg="add mod">
          <ac:chgData name="Mats Necker" userId="2d97bddf-6881-4b42-b7ae-84f5465d8fc5" providerId="ADAL" clId="{83AE2A6F-2D47-46DC-8967-3F7EE77593BE}" dt="2024-09-26T04:55:54.496" v="335" actId="1076"/>
          <ac:grpSpMkLst>
            <pc:docMk/>
            <pc:sldMk cId="3374304043" sldId="279"/>
            <ac:grpSpMk id="5" creationId="{F16FAE92-22B3-65F4-D099-92E4DA3BB39C}"/>
          </ac:grpSpMkLst>
        </pc:grpChg>
        <pc:picChg chg="mod">
          <ac:chgData name="Mats Necker" userId="2d97bddf-6881-4b42-b7ae-84f5465d8fc5" providerId="ADAL" clId="{83AE2A6F-2D47-46DC-8967-3F7EE77593BE}" dt="2024-09-26T04:55:54.496" v="335" actId="1076"/>
          <ac:picMkLst>
            <pc:docMk/>
            <pc:sldMk cId="3374304043" sldId="279"/>
            <ac:picMk id="7" creationId="{3E1CFE93-0D40-D3B9-EF74-B1BED00C0CE1}"/>
          </ac:picMkLst>
        </pc:picChg>
        <pc:picChg chg="add mod">
          <ac:chgData name="Mats Necker" userId="2d97bddf-6881-4b42-b7ae-84f5465d8fc5" providerId="ADAL" clId="{83AE2A6F-2D47-46DC-8967-3F7EE77593BE}" dt="2024-09-26T04:55:54.496" v="335" actId="1076"/>
          <ac:picMkLst>
            <pc:docMk/>
            <pc:sldMk cId="3374304043" sldId="279"/>
            <ac:picMk id="10" creationId="{B13D7F57-3682-6DBC-55E4-1D25A47BBD3D}"/>
          </ac:picMkLst>
        </pc:picChg>
        <pc:picChg chg="add mod">
          <ac:chgData name="Mats Necker" userId="2d97bddf-6881-4b42-b7ae-84f5465d8fc5" providerId="ADAL" clId="{83AE2A6F-2D47-46DC-8967-3F7EE77593BE}" dt="2024-09-26T04:55:54.496" v="335" actId="1076"/>
          <ac:picMkLst>
            <pc:docMk/>
            <pc:sldMk cId="3374304043" sldId="279"/>
            <ac:picMk id="14" creationId="{68EFA8C8-0D32-5120-229A-824829732CB5}"/>
          </ac:picMkLst>
        </pc:picChg>
        <pc:picChg chg="add mod">
          <ac:chgData name="Mats Necker" userId="2d97bddf-6881-4b42-b7ae-84f5465d8fc5" providerId="ADAL" clId="{83AE2A6F-2D47-46DC-8967-3F7EE77593BE}" dt="2024-09-26T04:55:54.496" v="335" actId="1076"/>
          <ac:picMkLst>
            <pc:docMk/>
            <pc:sldMk cId="3374304043" sldId="279"/>
            <ac:picMk id="16" creationId="{DDFE837F-ABA1-FD74-668A-5B23AD521534}"/>
          </ac:picMkLst>
        </pc:picChg>
        <pc:picChg chg="add mod">
          <ac:chgData name="Mats Necker" userId="2d97bddf-6881-4b42-b7ae-84f5465d8fc5" providerId="ADAL" clId="{83AE2A6F-2D47-46DC-8967-3F7EE77593BE}" dt="2024-09-26T16:00:38.732" v="1262" actId="1076"/>
          <ac:picMkLst>
            <pc:docMk/>
            <pc:sldMk cId="3374304043" sldId="279"/>
            <ac:picMk id="1026" creationId="{7A7180A3-6272-297C-DCD9-2B8D265E91B4}"/>
          </ac:picMkLst>
        </pc:picChg>
        <pc:cxnChg chg="add mod">
          <ac:chgData name="Mats Necker" userId="2d97bddf-6881-4b42-b7ae-84f5465d8fc5" providerId="ADAL" clId="{83AE2A6F-2D47-46DC-8967-3F7EE77593BE}" dt="2024-09-26T04:55:54.496" v="335" actId="1076"/>
          <ac:cxnSpMkLst>
            <pc:docMk/>
            <pc:sldMk cId="3374304043" sldId="279"/>
            <ac:cxnSpMk id="17" creationId="{41C38182-E5CF-D640-6DC0-2A9B34113F9A}"/>
          </ac:cxnSpMkLst>
        </pc:cxnChg>
        <pc:cxnChg chg="add mod">
          <ac:chgData name="Mats Necker" userId="2d97bddf-6881-4b42-b7ae-84f5465d8fc5" providerId="ADAL" clId="{83AE2A6F-2D47-46DC-8967-3F7EE77593BE}" dt="2024-09-26T04:55:54.496" v="335" actId="1076"/>
          <ac:cxnSpMkLst>
            <pc:docMk/>
            <pc:sldMk cId="3374304043" sldId="279"/>
            <ac:cxnSpMk id="18" creationId="{967CB47A-6305-C072-0B93-F85650016DAB}"/>
          </ac:cxnSpMkLst>
        </pc:cxnChg>
        <pc:cxnChg chg="add mod">
          <ac:chgData name="Mats Necker" userId="2d97bddf-6881-4b42-b7ae-84f5465d8fc5" providerId="ADAL" clId="{83AE2A6F-2D47-46DC-8967-3F7EE77593BE}" dt="2024-09-26T04:55:54.496" v="335" actId="1076"/>
          <ac:cxnSpMkLst>
            <pc:docMk/>
            <pc:sldMk cId="3374304043" sldId="279"/>
            <ac:cxnSpMk id="19" creationId="{BEC6040B-BC3E-FBBB-3DCA-828792E9148B}"/>
          </ac:cxnSpMkLst>
        </pc:cxnChg>
      </pc:sldChg>
      <pc:sldChg chg="addSp delSp modSp new del mod modClrScheme chgLayout">
        <pc:chgData name="Mats Necker" userId="2d97bddf-6881-4b42-b7ae-84f5465d8fc5" providerId="ADAL" clId="{83AE2A6F-2D47-46DC-8967-3F7EE77593BE}" dt="2024-09-26T16:59:44.948" v="1682" actId="47"/>
        <pc:sldMkLst>
          <pc:docMk/>
          <pc:sldMk cId="1427513276" sldId="280"/>
        </pc:sldMkLst>
        <pc:spChg chg="mod ord">
          <ac:chgData name="Mats Necker" userId="2d97bddf-6881-4b42-b7ae-84f5465d8fc5" providerId="ADAL" clId="{83AE2A6F-2D47-46DC-8967-3F7EE77593BE}" dt="2024-09-26T06:29:39.420" v="926" actId="20577"/>
          <ac:spMkLst>
            <pc:docMk/>
            <pc:sldMk cId="1427513276" sldId="280"/>
            <ac:spMk id="2" creationId="{C0C00361-C2A5-B4DC-77E4-74E89D9D62F3}"/>
          </ac:spMkLst>
        </pc:spChg>
        <pc:spChg chg="del mod ord">
          <ac:chgData name="Mats Necker" userId="2d97bddf-6881-4b42-b7ae-84f5465d8fc5" providerId="ADAL" clId="{83AE2A6F-2D47-46DC-8967-3F7EE77593BE}" dt="2024-09-26T05:04:21.937" v="613" actId="700"/>
          <ac:spMkLst>
            <pc:docMk/>
            <pc:sldMk cId="1427513276" sldId="280"/>
            <ac:spMk id="3" creationId="{AF0DB134-0175-AE34-3670-ADC2CF0C56C8}"/>
          </ac:spMkLst>
        </pc:spChg>
        <pc:spChg chg="add del mod ord">
          <ac:chgData name="Mats Necker" userId="2d97bddf-6881-4b42-b7ae-84f5465d8fc5" providerId="ADAL" clId="{83AE2A6F-2D47-46DC-8967-3F7EE77593BE}" dt="2024-09-26T05:04:26.882" v="614" actId="700"/>
          <ac:spMkLst>
            <pc:docMk/>
            <pc:sldMk cId="1427513276" sldId="280"/>
            <ac:spMk id="4" creationId="{D843F598-5F52-F188-4553-1C3EDECB1C57}"/>
          </ac:spMkLst>
        </pc:spChg>
        <pc:spChg chg="add del mod ord">
          <ac:chgData name="Mats Necker" userId="2d97bddf-6881-4b42-b7ae-84f5465d8fc5" providerId="ADAL" clId="{83AE2A6F-2D47-46DC-8967-3F7EE77593BE}" dt="2024-09-26T05:04:26.882" v="614" actId="700"/>
          <ac:spMkLst>
            <pc:docMk/>
            <pc:sldMk cId="1427513276" sldId="280"/>
            <ac:spMk id="5" creationId="{833BBE9D-1255-6E9E-57E3-90C7B16AB398}"/>
          </ac:spMkLst>
        </pc:spChg>
        <pc:spChg chg="add del mod ord">
          <ac:chgData name="Mats Necker" userId="2d97bddf-6881-4b42-b7ae-84f5465d8fc5" providerId="ADAL" clId="{83AE2A6F-2D47-46DC-8967-3F7EE77593BE}" dt="2024-09-26T05:04:26.882" v="614" actId="700"/>
          <ac:spMkLst>
            <pc:docMk/>
            <pc:sldMk cId="1427513276" sldId="280"/>
            <ac:spMk id="6" creationId="{67834449-623C-0AED-7D42-67D45E68B2B5}"/>
          </ac:spMkLst>
        </pc:spChg>
        <pc:spChg chg="add del mod ord">
          <ac:chgData name="Mats Necker" userId="2d97bddf-6881-4b42-b7ae-84f5465d8fc5" providerId="ADAL" clId="{83AE2A6F-2D47-46DC-8967-3F7EE77593BE}" dt="2024-09-26T05:04:26.882" v="614" actId="700"/>
          <ac:spMkLst>
            <pc:docMk/>
            <pc:sldMk cId="1427513276" sldId="280"/>
            <ac:spMk id="7" creationId="{3097963E-4C56-DF39-0ACD-2A8637C35777}"/>
          </ac:spMkLst>
        </pc:spChg>
        <pc:spChg chg="add del mod ord">
          <ac:chgData name="Mats Necker" userId="2d97bddf-6881-4b42-b7ae-84f5465d8fc5" providerId="ADAL" clId="{83AE2A6F-2D47-46DC-8967-3F7EE77593BE}" dt="2024-09-26T05:04:57.583" v="619" actId="700"/>
          <ac:spMkLst>
            <pc:docMk/>
            <pc:sldMk cId="1427513276" sldId="280"/>
            <ac:spMk id="8" creationId="{B6873F1B-DDB5-0E5A-9EC1-1307D3D25DDF}"/>
          </ac:spMkLst>
        </pc:spChg>
        <pc:spChg chg="add del mod ord">
          <ac:chgData name="Mats Necker" userId="2d97bddf-6881-4b42-b7ae-84f5465d8fc5" providerId="ADAL" clId="{83AE2A6F-2D47-46DC-8967-3F7EE77593BE}" dt="2024-09-26T05:04:57.583" v="619" actId="700"/>
          <ac:spMkLst>
            <pc:docMk/>
            <pc:sldMk cId="1427513276" sldId="280"/>
            <ac:spMk id="9" creationId="{F5D10FAC-3E34-AE79-52DE-78523F7B6FA5}"/>
          </ac:spMkLst>
        </pc:spChg>
        <pc:spChg chg="add del mod ord">
          <ac:chgData name="Mats Necker" userId="2d97bddf-6881-4b42-b7ae-84f5465d8fc5" providerId="ADAL" clId="{83AE2A6F-2D47-46DC-8967-3F7EE77593BE}" dt="2024-09-26T05:04:57.583" v="619" actId="700"/>
          <ac:spMkLst>
            <pc:docMk/>
            <pc:sldMk cId="1427513276" sldId="280"/>
            <ac:spMk id="10" creationId="{D64B086D-ECE1-CC4F-8587-713EC4C65D82}"/>
          </ac:spMkLst>
        </pc:spChg>
        <pc:spChg chg="add del mod ord">
          <ac:chgData name="Mats Necker" userId="2d97bddf-6881-4b42-b7ae-84f5465d8fc5" providerId="ADAL" clId="{83AE2A6F-2D47-46DC-8967-3F7EE77593BE}" dt="2024-09-26T05:04:57.583" v="619" actId="700"/>
          <ac:spMkLst>
            <pc:docMk/>
            <pc:sldMk cId="1427513276" sldId="280"/>
            <ac:spMk id="11" creationId="{44D9A399-E4BD-977D-8941-FD7697C9EE35}"/>
          </ac:spMkLst>
        </pc:spChg>
        <pc:spChg chg="add del mod ord">
          <ac:chgData name="Mats Necker" userId="2d97bddf-6881-4b42-b7ae-84f5465d8fc5" providerId="ADAL" clId="{83AE2A6F-2D47-46DC-8967-3F7EE77593BE}" dt="2024-09-26T05:04:57.583" v="619" actId="700"/>
          <ac:spMkLst>
            <pc:docMk/>
            <pc:sldMk cId="1427513276" sldId="280"/>
            <ac:spMk id="12" creationId="{116A6B3C-5DEC-BA15-6347-32B35AD110A3}"/>
          </ac:spMkLst>
        </pc:spChg>
        <pc:spChg chg="add del mod ord">
          <ac:chgData name="Mats Necker" userId="2d97bddf-6881-4b42-b7ae-84f5465d8fc5" providerId="ADAL" clId="{83AE2A6F-2D47-46DC-8967-3F7EE77593BE}" dt="2024-09-26T05:04:57.583" v="619" actId="700"/>
          <ac:spMkLst>
            <pc:docMk/>
            <pc:sldMk cId="1427513276" sldId="280"/>
            <ac:spMk id="13" creationId="{F4CD744C-5CE4-EA44-7EA9-0915CB6554CD}"/>
          </ac:spMkLst>
        </pc:spChg>
        <pc:spChg chg="add del mod ord">
          <ac:chgData name="Mats Necker" userId="2d97bddf-6881-4b42-b7ae-84f5465d8fc5" providerId="ADAL" clId="{83AE2A6F-2D47-46DC-8967-3F7EE77593BE}" dt="2024-09-26T05:04:57.583" v="619" actId="700"/>
          <ac:spMkLst>
            <pc:docMk/>
            <pc:sldMk cId="1427513276" sldId="280"/>
            <ac:spMk id="14" creationId="{ED4B9992-2371-F153-87E5-3FF104E76020}"/>
          </ac:spMkLst>
        </pc:spChg>
        <pc:spChg chg="add del mod ord">
          <ac:chgData name="Mats Necker" userId="2d97bddf-6881-4b42-b7ae-84f5465d8fc5" providerId="ADAL" clId="{83AE2A6F-2D47-46DC-8967-3F7EE77593BE}" dt="2024-09-26T05:04:57.583" v="619" actId="700"/>
          <ac:spMkLst>
            <pc:docMk/>
            <pc:sldMk cId="1427513276" sldId="280"/>
            <ac:spMk id="15" creationId="{5079EA08-2B1F-6F05-D4EF-15357C3792D5}"/>
          </ac:spMkLst>
        </pc:spChg>
        <pc:spChg chg="add mod ord">
          <ac:chgData name="Mats Necker" userId="2d97bddf-6881-4b42-b7ae-84f5465d8fc5" providerId="ADAL" clId="{83AE2A6F-2D47-46DC-8967-3F7EE77593BE}" dt="2024-09-26T06:29:25.738" v="888" actId="20577"/>
          <ac:spMkLst>
            <pc:docMk/>
            <pc:sldMk cId="1427513276" sldId="280"/>
            <ac:spMk id="16" creationId="{13B660DA-7CAA-DC55-C696-A4A0E6E21BBC}"/>
          </ac:spMkLst>
        </pc:spChg>
        <pc:spChg chg="add mod">
          <ac:chgData name="Mats Necker" userId="2d97bddf-6881-4b42-b7ae-84f5465d8fc5" providerId="ADAL" clId="{83AE2A6F-2D47-46DC-8967-3F7EE77593BE}" dt="2024-09-26T06:28:46.771" v="865" actId="403"/>
          <ac:spMkLst>
            <pc:docMk/>
            <pc:sldMk cId="1427513276" sldId="280"/>
            <ac:spMk id="17" creationId="{8773AC07-224E-D889-7154-62C48A27D1FD}"/>
          </ac:spMkLst>
        </pc:spChg>
      </pc:sldChg>
      <pc:sldChg chg="addSp delSp modSp new del mod modClrScheme chgLayout">
        <pc:chgData name="Mats Necker" userId="2d97bddf-6881-4b42-b7ae-84f5465d8fc5" providerId="ADAL" clId="{83AE2A6F-2D47-46DC-8967-3F7EE77593BE}" dt="2024-09-26T13:37:36.887" v="929" actId="47"/>
        <pc:sldMkLst>
          <pc:docMk/>
          <pc:sldMk cId="4236597655" sldId="281"/>
        </pc:sldMkLst>
        <pc:spChg chg="del mod ord">
          <ac:chgData name="Mats Necker" userId="2d97bddf-6881-4b42-b7ae-84f5465d8fc5" providerId="ADAL" clId="{83AE2A6F-2D47-46DC-8967-3F7EE77593BE}" dt="2024-09-26T04:59:53.784" v="454" actId="700"/>
          <ac:spMkLst>
            <pc:docMk/>
            <pc:sldMk cId="4236597655" sldId="281"/>
            <ac:spMk id="2" creationId="{B0B472AF-8ACA-E2B2-63D9-C42E61CD2BDC}"/>
          </ac:spMkLst>
        </pc:spChg>
        <pc:spChg chg="del mod ord">
          <ac:chgData name="Mats Necker" userId="2d97bddf-6881-4b42-b7ae-84f5465d8fc5" providerId="ADAL" clId="{83AE2A6F-2D47-46DC-8967-3F7EE77593BE}" dt="2024-09-26T04:59:53.784" v="454" actId="700"/>
          <ac:spMkLst>
            <pc:docMk/>
            <pc:sldMk cId="4236597655" sldId="281"/>
            <ac:spMk id="3" creationId="{75874FA7-1E42-F73D-A7FE-8C967E48DFDB}"/>
          </ac:spMkLst>
        </pc:spChg>
        <pc:spChg chg="add mod ord">
          <ac:chgData name="Mats Necker" userId="2d97bddf-6881-4b42-b7ae-84f5465d8fc5" providerId="ADAL" clId="{83AE2A6F-2D47-46DC-8967-3F7EE77593BE}" dt="2024-09-26T05:00:06.145" v="506" actId="20577"/>
          <ac:spMkLst>
            <pc:docMk/>
            <pc:sldMk cId="4236597655" sldId="281"/>
            <ac:spMk id="4" creationId="{CDA13A73-63FA-682D-117A-B09BC7D105E2}"/>
          </ac:spMkLst>
        </pc:spChg>
        <pc:spChg chg="add del mod ord">
          <ac:chgData name="Mats Necker" userId="2d97bddf-6881-4b42-b7ae-84f5465d8fc5" providerId="ADAL" clId="{83AE2A6F-2D47-46DC-8967-3F7EE77593BE}" dt="2024-09-26T05:00:12.729" v="507" actId="478"/>
          <ac:spMkLst>
            <pc:docMk/>
            <pc:sldMk cId="4236597655" sldId="281"/>
            <ac:spMk id="5" creationId="{133382FB-F40B-087F-261E-EEDF49984490}"/>
          </ac:spMkLst>
        </pc:spChg>
        <pc:picChg chg="add mod">
          <ac:chgData name="Mats Necker" userId="2d97bddf-6881-4b42-b7ae-84f5465d8fc5" providerId="ADAL" clId="{83AE2A6F-2D47-46DC-8967-3F7EE77593BE}" dt="2024-09-26T05:00:30.046" v="509" actId="1076"/>
          <ac:picMkLst>
            <pc:docMk/>
            <pc:sldMk cId="4236597655" sldId="281"/>
            <ac:picMk id="6" creationId="{01A1FCE9-21A3-A908-64CC-839B363EEDD1}"/>
          </ac:picMkLst>
        </pc:picChg>
      </pc:sldChg>
      <pc:sldChg chg="addSp delSp modSp new del mod modClrScheme chgLayout">
        <pc:chgData name="Mats Necker" userId="2d97bddf-6881-4b42-b7ae-84f5465d8fc5" providerId="ADAL" clId="{83AE2A6F-2D47-46DC-8967-3F7EE77593BE}" dt="2024-09-26T13:37:36.887" v="929" actId="47"/>
        <pc:sldMkLst>
          <pc:docMk/>
          <pc:sldMk cId="3411486826" sldId="282"/>
        </pc:sldMkLst>
        <pc:spChg chg="del mod ord">
          <ac:chgData name="Mats Necker" userId="2d97bddf-6881-4b42-b7ae-84f5465d8fc5" providerId="ADAL" clId="{83AE2A6F-2D47-46DC-8967-3F7EE77593BE}" dt="2024-09-26T05:01:23.936" v="514" actId="700"/>
          <ac:spMkLst>
            <pc:docMk/>
            <pc:sldMk cId="3411486826" sldId="282"/>
            <ac:spMk id="2" creationId="{6BD05BC2-B7E1-2522-382F-C5098F38CA7E}"/>
          </ac:spMkLst>
        </pc:spChg>
        <pc:spChg chg="del mod ord">
          <ac:chgData name="Mats Necker" userId="2d97bddf-6881-4b42-b7ae-84f5465d8fc5" providerId="ADAL" clId="{83AE2A6F-2D47-46DC-8967-3F7EE77593BE}" dt="2024-09-26T05:01:23.936" v="514" actId="700"/>
          <ac:spMkLst>
            <pc:docMk/>
            <pc:sldMk cId="3411486826" sldId="282"/>
            <ac:spMk id="3" creationId="{BDC7B114-F6F9-28B0-07C5-38BBEB35B721}"/>
          </ac:spMkLst>
        </pc:spChg>
        <pc:spChg chg="add mod ord">
          <ac:chgData name="Mats Necker" userId="2d97bddf-6881-4b42-b7ae-84f5465d8fc5" providerId="ADAL" clId="{83AE2A6F-2D47-46DC-8967-3F7EE77593BE}" dt="2024-09-26T05:01:31.235" v="536" actId="20577"/>
          <ac:spMkLst>
            <pc:docMk/>
            <pc:sldMk cId="3411486826" sldId="282"/>
            <ac:spMk id="4" creationId="{C7098EEB-38B9-D0B1-E388-56A39BAB6E93}"/>
          </ac:spMkLst>
        </pc:spChg>
        <pc:spChg chg="add mod ord">
          <ac:chgData name="Mats Necker" userId="2d97bddf-6881-4b42-b7ae-84f5465d8fc5" providerId="ADAL" clId="{83AE2A6F-2D47-46DC-8967-3F7EE77593BE}" dt="2024-09-26T05:01:45.093" v="568" actId="20577"/>
          <ac:spMkLst>
            <pc:docMk/>
            <pc:sldMk cId="3411486826" sldId="282"/>
            <ac:spMk id="5" creationId="{365E3C63-3793-B778-1A22-572E03E14A41}"/>
          </ac:spMkLst>
        </pc:spChg>
        <pc:spChg chg="add mod">
          <ac:chgData name="Mats Necker" userId="2d97bddf-6881-4b42-b7ae-84f5465d8fc5" providerId="ADAL" clId="{83AE2A6F-2D47-46DC-8967-3F7EE77593BE}" dt="2024-09-26T05:02:28.423" v="581" actId="207"/>
          <ac:spMkLst>
            <pc:docMk/>
            <pc:sldMk cId="3411486826" sldId="282"/>
            <ac:spMk id="8" creationId="{0A2667DC-0DC9-10B6-1C21-45676BD3235C}"/>
          </ac:spMkLst>
        </pc:spChg>
        <pc:picChg chg="add mod">
          <ac:chgData name="Mats Necker" userId="2d97bddf-6881-4b42-b7ae-84f5465d8fc5" providerId="ADAL" clId="{83AE2A6F-2D47-46DC-8967-3F7EE77593BE}" dt="2024-09-26T05:02:05.648" v="570" actId="1076"/>
          <ac:picMkLst>
            <pc:docMk/>
            <pc:sldMk cId="3411486826" sldId="282"/>
            <ac:picMk id="6" creationId="{DBE073F6-CA5A-E8B2-BCC0-64A87A4476DF}"/>
          </ac:picMkLst>
        </pc:picChg>
        <pc:picChg chg="add mod">
          <ac:chgData name="Mats Necker" userId="2d97bddf-6881-4b42-b7ae-84f5465d8fc5" providerId="ADAL" clId="{83AE2A6F-2D47-46DC-8967-3F7EE77593BE}" dt="2024-09-26T05:02:05.648" v="570" actId="1076"/>
          <ac:picMkLst>
            <pc:docMk/>
            <pc:sldMk cId="3411486826" sldId="282"/>
            <ac:picMk id="7" creationId="{EF07F135-4148-AC50-D6FB-AF3D7525EE12}"/>
          </ac:picMkLst>
        </pc:picChg>
      </pc:sldChg>
      <pc:sldChg chg="addSp delSp modSp add mod modTransition modAnim">
        <pc:chgData name="Mats Necker" userId="2d97bddf-6881-4b42-b7ae-84f5465d8fc5" providerId="ADAL" clId="{83AE2A6F-2D47-46DC-8967-3F7EE77593BE}" dt="2024-09-26T16:13:29.816" v="1305"/>
        <pc:sldMkLst>
          <pc:docMk/>
          <pc:sldMk cId="1554777036" sldId="283"/>
        </pc:sldMkLst>
        <pc:spChg chg="add mod">
          <ac:chgData name="Mats Necker" userId="2d97bddf-6881-4b42-b7ae-84f5465d8fc5" providerId="ADAL" clId="{83AE2A6F-2D47-46DC-8967-3F7EE77593BE}" dt="2024-09-26T06:23:06.997" v="692" actId="14100"/>
          <ac:spMkLst>
            <pc:docMk/>
            <pc:sldMk cId="1554777036" sldId="283"/>
            <ac:spMk id="2" creationId="{356F8E50-3DE1-86F1-FF31-7EC4D6F0F525}"/>
          </ac:spMkLst>
        </pc:spChg>
        <pc:spChg chg="mod">
          <ac:chgData name="Mats Necker" userId="2d97bddf-6881-4b42-b7ae-84f5465d8fc5" providerId="ADAL" clId="{83AE2A6F-2D47-46DC-8967-3F7EE77593BE}" dt="2024-09-26T06:25:55.421" v="840" actId="20577"/>
          <ac:spMkLst>
            <pc:docMk/>
            <pc:sldMk cId="1554777036" sldId="283"/>
            <ac:spMk id="4" creationId="{DA4BDD07-08FD-99D4-BEC6-6808B332CD8D}"/>
          </ac:spMkLst>
        </pc:spChg>
        <pc:spChg chg="mod">
          <ac:chgData name="Mats Necker" userId="2d97bddf-6881-4b42-b7ae-84f5465d8fc5" providerId="ADAL" clId="{83AE2A6F-2D47-46DC-8967-3F7EE77593BE}" dt="2024-09-26T06:22:16.104" v="682" actId="1076"/>
          <ac:spMkLst>
            <pc:docMk/>
            <pc:sldMk cId="1554777036" sldId="283"/>
            <ac:spMk id="8" creationId="{BC5C4E07-6A2F-264D-31F7-C2227939505E}"/>
          </ac:spMkLst>
        </pc:spChg>
        <pc:spChg chg="mod">
          <ac:chgData name="Mats Necker" userId="2d97bddf-6881-4b42-b7ae-84f5465d8fc5" providerId="ADAL" clId="{83AE2A6F-2D47-46DC-8967-3F7EE77593BE}" dt="2024-09-26T06:22:16.104" v="682" actId="1076"/>
          <ac:spMkLst>
            <pc:docMk/>
            <pc:sldMk cId="1554777036" sldId="283"/>
            <ac:spMk id="9" creationId="{7ED59B56-01CB-6CF9-00BE-492BC94BA6F5}"/>
          </ac:spMkLst>
        </pc:spChg>
        <pc:spChg chg="mod">
          <ac:chgData name="Mats Necker" userId="2d97bddf-6881-4b42-b7ae-84f5465d8fc5" providerId="ADAL" clId="{83AE2A6F-2D47-46DC-8967-3F7EE77593BE}" dt="2024-09-26T06:24:52.703" v="756" actId="404"/>
          <ac:spMkLst>
            <pc:docMk/>
            <pc:sldMk cId="1554777036" sldId="283"/>
            <ac:spMk id="11" creationId="{0D2DBFB1-A88C-B68A-B4CD-A585BA7C047D}"/>
          </ac:spMkLst>
        </pc:spChg>
        <pc:spChg chg="mod">
          <ac:chgData name="Mats Necker" userId="2d97bddf-6881-4b42-b7ae-84f5465d8fc5" providerId="ADAL" clId="{83AE2A6F-2D47-46DC-8967-3F7EE77593BE}" dt="2024-09-26T06:22:45.666" v="686" actId="14100"/>
          <ac:spMkLst>
            <pc:docMk/>
            <pc:sldMk cId="1554777036" sldId="283"/>
            <ac:spMk id="12" creationId="{EFEFCA4D-20CC-804E-8C19-ACA8C34A4C60}"/>
          </ac:spMkLst>
        </pc:spChg>
        <pc:spChg chg="mod">
          <ac:chgData name="Mats Necker" userId="2d97bddf-6881-4b42-b7ae-84f5465d8fc5" providerId="ADAL" clId="{83AE2A6F-2D47-46DC-8967-3F7EE77593BE}" dt="2024-09-26T16:13:07.113" v="1300" actId="1076"/>
          <ac:spMkLst>
            <pc:docMk/>
            <pc:sldMk cId="1554777036" sldId="283"/>
            <ac:spMk id="13" creationId="{B2471435-414F-8333-DE4B-C11AB97C0B74}"/>
          </ac:spMkLst>
        </pc:spChg>
        <pc:spChg chg="mod">
          <ac:chgData name="Mats Necker" userId="2d97bddf-6881-4b42-b7ae-84f5465d8fc5" providerId="ADAL" clId="{83AE2A6F-2D47-46DC-8967-3F7EE77593BE}" dt="2024-09-26T06:24:34.089" v="747" actId="1076"/>
          <ac:spMkLst>
            <pc:docMk/>
            <pc:sldMk cId="1554777036" sldId="283"/>
            <ac:spMk id="15" creationId="{A615F4DF-6BA9-6428-D024-6B89149561B2}"/>
          </ac:spMkLst>
        </pc:spChg>
        <pc:spChg chg="mod">
          <ac:chgData name="Mats Necker" userId="2d97bddf-6881-4b42-b7ae-84f5465d8fc5" providerId="ADAL" clId="{83AE2A6F-2D47-46DC-8967-3F7EE77593BE}" dt="2024-09-26T06:22:23.800" v="683" actId="1076"/>
          <ac:spMkLst>
            <pc:docMk/>
            <pc:sldMk cId="1554777036" sldId="283"/>
            <ac:spMk id="20" creationId="{E9C35AF1-EB6A-C21E-2829-2E4B48FBE8CA}"/>
          </ac:spMkLst>
        </pc:spChg>
        <pc:spChg chg="del mod">
          <ac:chgData name="Mats Necker" userId="2d97bddf-6881-4b42-b7ae-84f5465d8fc5" providerId="ADAL" clId="{83AE2A6F-2D47-46DC-8967-3F7EE77593BE}" dt="2024-09-26T06:24:27.287" v="744" actId="478"/>
          <ac:spMkLst>
            <pc:docMk/>
            <pc:sldMk cId="1554777036" sldId="283"/>
            <ac:spMk id="21" creationId="{7C447B69-8984-6C6B-CBAE-A049DC5CC772}"/>
          </ac:spMkLst>
        </pc:spChg>
        <pc:spChg chg="add mod">
          <ac:chgData name="Mats Necker" userId="2d97bddf-6881-4b42-b7ae-84f5465d8fc5" providerId="ADAL" clId="{83AE2A6F-2D47-46DC-8967-3F7EE77593BE}" dt="2024-09-26T16:13:24.424" v="1303" actId="1076"/>
          <ac:spMkLst>
            <pc:docMk/>
            <pc:sldMk cId="1554777036" sldId="283"/>
            <ac:spMk id="21" creationId="{C164F9C2-66D7-2426-4156-14A30257B018}"/>
          </ac:spMkLst>
        </pc:spChg>
        <pc:spChg chg="mod">
          <ac:chgData name="Mats Necker" userId="2d97bddf-6881-4b42-b7ae-84f5465d8fc5" providerId="ADAL" clId="{83AE2A6F-2D47-46DC-8967-3F7EE77593BE}" dt="2024-09-26T06:24:40.403" v="750" actId="1076"/>
          <ac:spMkLst>
            <pc:docMk/>
            <pc:sldMk cId="1554777036" sldId="283"/>
            <ac:spMk id="22" creationId="{11EED1F2-BB1C-0AA3-E5AC-970813305282}"/>
          </ac:spMkLst>
        </pc:spChg>
        <pc:spChg chg="del">
          <ac:chgData name="Mats Necker" userId="2d97bddf-6881-4b42-b7ae-84f5465d8fc5" providerId="ADAL" clId="{83AE2A6F-2D47-46DC-8967-3F7EE77593BE}" dt="2024-09-26T06:22:55.751" v="688" actId="478"/>
          <ac:spMkLst>
            <pc:docMk/>
            <pc:sldMk cId="1554777036" sldId="283"/>
            <ac:spMk id="23" creationId="{6BA31BCF-A982-4749-538E-1A44EFC65C48}"/>
          </ac:spMkLst>
        </pc:spChg>
        <pc:spChg chg="add mod">
          <ac:chgData name="Mats Necker" userId="2d97bddf-6881-4b42-b7ae-84f5465d8fc5" providerId="ADAL" clId="{83AE2A6F-2D47-46DC-8967-3F7EE77593BE}" dt="2024-09-26T06:24:14.263" v="725" actId="1076"/>
          <ac:spMkLst>
            <pc:docMk/>
            <pc:sldMk cId="1554777036" sldId="283"/>
            <ac:spMk id="24" creationId="{A8E8A19D-D1E4-7882-1415-ECE8C8E1AD83}"/>
          </ac:spMkLst>
        </pc:spChg>
        <pc:spChg chg="add mod">
          <ac:chgData name="Mats Necker" userId="2d97bddf-6881-4b42-b7ae-84f5465d8fc5" providerId="ADAL" clId="{83AE2A6F-2D47-46DC-8967-3F7EE77593BE}" dt="2024-09-26T06:24:24.456" v="743" actId="20577"/>
          <ac:spMkLst>
            <pc:docMk/>
            <pc:sldMk cId="1554777036" sldId="283"/>
            <ac:spMk id="28" creationId="{2DC4DF8F-5F63-B52D-0904-7708F6101172}"/>
          </ac:spMkLst>
        </pc:spChg>
        <pc:spChg chg="add del mod">
          <ac:chgData name="Mats Necker" userId="2d97bddf-6881-4b42-b7ae-84f5465d8fc5" providerId="ADAL" clId="{83AE2A6F-2D47-46DC-8967-3F7EE77593BE}" dt="2024-09-26T06:24:37.037" v="749" actId="478"/>
          <ac:spMkLst>
            <pc:docMk/>
            <pc:sldMk cId="1554777036" sldId="283"/>
            <ac:spMk id="30" creationId="{D24CE6C5-61D4-DE1E-DB14-925742A3C439}"/>
          </ac:spMkLst>
        </pc:spChg>
        <pc:spChg chg="add del mod">
          <ac:chgData name="Mats Necker" userId="2d97bddf-6881-4b42-b7ae-84f5465d8fc5" providerId="ADAL" clId="{83AE2A6F-2D47-46DC-8967-3F7EE77593BE}" dt="2024-09-26T16:13:20.100" v="1301" actId="478"/>
          <ac:spMkLst>
            <pc:docMk/>
            <pc:sldMk cId="1554777036" sldId="283"/>
            <ac:spMk id="31" creationId="{7839EB61-C7E8-7D5B-44C2-A0E53EA1FA79}"/>
          </ac:spMkLst>
        </pc:spChg>
        <pc:grpChg chg="mod">
          <ac:chgData name="Mats Necker" userId="2d97bddf-6881-4b42-b7ae-84f5465d8fc5" providerId="ADAL" clId="{83AE2A6F-2D47-46DC-8967-3F7EE77593BE}" dt="2024-09-26T06:22:16.104" v="682" actId="1076"/>
          <ac:grpSpMkLst>
            <pc:docMk/>
            <pc:sldMk cId="1554777036" sldId="283"/>
            <ac:grpSpMk id="5" creationId="{F16FAE92-22B3-65F4-D099-92E4DA3BB39C}"/>
          </ac:grpSpMkLst>
        </pc:grpChg>
        <pc:picChg chg="mod">
          <ac:chgData name="Mats Necker" userId="2d97bddf-6881-4b42-b7ae-84f5465d8fc5" providerId="ADAL" clId="{83AE2A6F-2D47-46DC-8967-3F7EE77593BE}" dt="2024-09-26T06:24:44.342" v="752" actId="1076"/>
          <ac:picMkLst>
            <pc:docMk/>
            <pc:sldMk cId="1554777036" sldId="283"/>
            <ac:picMk id="10" creationId="{B13D7F57-3682-6DBC-55E4-1D25A47BBD3D}"/>
          </ac:picMkLst>
        </pc:picChg>
        <pc:picChg chg="mod">
          <ac:chgData name="Mats Necker" userId="2d97bddf-6881-4b42-b7ae-84f5465d8fc5" providerId="ADAL" clId="{83AE2A6F-2D47-46DC-8967-3F7EE77593BE}" dt="2024-09-26T06:24:31.985" v="746" actId="1076"/>
          <ac:picMkLst>
            <pc:docMk/>
            <pc:sldMk cId="1554777036" sldId="283"/>
            <ac:picMk id="14" creationId="{68EFA8C8-0D32-5120-229A-824829732CB5}"/>
          </ac:picMkLst>
        </pc:picChg>
        <pc:picChg chg="mod">
          <ac:chgData name="Mats Necker" userId="2d97bddf-6881-4b42-b7ae-84f5465d8fc5" providerId="ADAL" clId="{83AE2A6F-2D47-46DC-8967-3F7EE77593BE}" dt="2024-09-26T06:25:16.963" v="757" actId="1076"/>
          <ac:picMkLst>
            <pc:docMk/>
            <pc:sldMk cId="1554777036" sldId="283"/>
            <ac:picMk id="16" creationId="{DDFE837F-ABA1-FD74-668A-5B23AD521534}"/>
          </ac:picMkLst>
        </pc:picChg>
        <pc:picChg chg="add mod">
          <ac:chgData name="Mats Necker" userId="2d97bddf-6881-4b42-b7ae-84f5465d8fc5" providerId="ADAL" clId="{83AE2A6F-2D47-46DC-8967-3F7EE77593BE}" dt="2024-09-26T16:13:24.424" v="1303" actId="1076"/>
          <ac:picMkLst>
            <pc:docMk/>
            <pc:sldMk cId="1554777036" sldId="283"/>
            <ac:picMk id="18" creationId="{6D52F936-753E-3A00-D7FD-E490392B9252}"/>
          </ac:picMkLst>
        </pc:picChg>
        <pc:picChg chg="add mod">
          <ac:chgData name="Mats Necker" userId="2d97bddf-6881-4b42-b7ae-84f5465d8fc5" providerId="ADAL" clId="{83AE2A6F-2D47-46DC-8967-3F7EE77593BE}" dt="2024-09-26T06:24:07.103" v="723" actId="1076"/>
          <ac:picMkLst>
            <pc:docMk/>
            <pc:sldMk cId="1554777036" sldId="283"/>
            <ac:picMk id="25" creationId="{32C7E6A2-7863-FE15-585F-9200A8914EE0}"/>
          </ac:picMkLst>
        </pc:picChg>
        <pc:picChg chg="add mod">
          <ac:chgData name="Mats Necker" userId="2d97bddf-6881-4b42-b7ae-84f5465d8fc5" providerId="ADAL" clId="{83AE2A6F-2D47-46DC-8967-3F7EE77593BE}" dt="2024-09-26T06:24:08.936" v="724" actId="1076"/>
          <ac:picMkLst>
            <pc:docMk/>
            <pc:sldMk cId="1554777036" sldId="283"/>
            <ac:picMk id="26" creationId="{3BA8F4A3-8831-A117-A8FC-C62DF9C84B15}"/>
          </ac:picMkLst>
        </pc:picChg>
        <pc:picChg chg="add mod">
          <ac:chgData name="Mats Necker" userId="2d97bddf-6881-4b42-b7ae-84f5465d8fc5" providerId="ADAL" clId="{83AE2A6F-2D47-46DC-8967-3F7EE77593BE}" dt="2024-09-26T06:24:02.602" v="721" actId="1076"/>
          <ac:picMkLst>
            <pc:docMk/>
            <pc:sldMk cId="1554777036" sldId="283"/>
            <ac:picMk id="27" creationId="{0425141B-5803-E4BC-1B7B-5F277A27794A}"/>
          </ac:picMkLst>
        </pc:picChg>
        <pc:cxnChg chg="mod">
          <ac:chgData name="Mats Necker" userId="2d97bddf-6881-4b42-b7ae-84f5465d8fc5" providerId="ADAL" clId="{83AE2A6F-2D47-46DC-8967-3F7EE77593BE}" dt="2024-09-26T06:22:23.800" v="683" actId="1076"/>
          <ac:cxnSpMkLst>
            <pc:docMk/>
            <pc:sldMk cId="1554777036" sldId="283"/>
            <ac:cxnSpMk id="17" creationId="{41C38182-E5CF-D640-6DC0-2A9B34113F9A}"/>
          </ac:cxnSpMkLst>
        </pc:cxnChg>
        <pc:cxnChg chg="del mod">
          <ac:chgData name="Mats Necker" userId="2d97bddf-6881-4b42-b7ae-84f5465d8fc5" providerId="ADAL" clId="{83AE2A6F-2D47-46DC-8967-3F7EE77593BE}" dt="2024-09-26T06:24:27.287" v="744" actId="478"/>
          <ac:cxnSpMkLst>
            <pc:docMk/>
            <pc:sldMk cId="1554777036" sldId="283"/>
            <ac:cxnSpMk id="18" creationId="{967CB47A-6305-C072-0B93-F85650016DAB}"/>
          </ac:cxnSpMkLst>
        </pc:cxnChg>
        <pc:cxnChg chg="mod">
          <ac:chgData name="Mats Necker" userId="2d97bddf-6881-4b42-b7ae-84f5465d8fc5" providerId="ADAL" clId="{83AE2A6F-2D47-46DC-8967-3F7EE77593BE}" dt="2024-09-26T06:24:40.403" v="750" actId="1076"/>
          <ac:cxnSpMkLst>
            <pc:docMk/>
            <pc:sldMk cId="1554777036" sldId="283"/>
            <ac:cxnSpMk id="19" creationId="{BEC6040B-BC3E-FBBB-3DCA-828792E9148B}"/>
          </ac:cxnSpMkLst>
        </pc:cxnChg>
        <pc:cxnChg chg="add del mod">
          <ac:chgData name="Mats Necker" userId="2d97bddf-6881-4b42-b7ae-84f5465d8fc5" providerId="ADAL" clId="{83AE2A6F-2D47-46DC-8967-3F7EE77593BE}" dt="2024-09-26T06:24:37.037" v="749" actId="478"/>
          <ac:cxnSpMkLst>
            <pc:docMk/>
            <pc:sldMk cId="1554777036" sldId="283"/>
            <ac:cxnSpMk id="29" creationId="{3F452D65-4BCA-32E4-6E4E-D5AA96E4275B}"/>
          </ac:cxnSpMkLst>
        </pc:cxnChg>
      </pc:sldChg>
      <pc:sldChg chg="new del">
        <pc:chgData name="Mats Necker" userId="2d97bddf-6881-4b42-b7ae-84f5465d8fc5" providerId="ADAL" clId="{83AE2A6F-2D47-46DC-8967-3F7EE77593BE}" dt="2024-09-26T13:31:34.231" v="928" actId="47"/>
        <pc:sldMkLst>
          <pc:docMk/>
          <pc:sldMk cId="1382641228" sldId="284"/>
        </pc:sldMkLst>
      </pc:sldChg>
      <pc:sldChg chg="modSp mod">
        <pc:chgData name="Mats Necker" userId="2d97bddf-6881-4b42-b7ae-84f5465d8fc5" providerId="ADAL" clId="{83AE2A6F-2D47-46DC-8967-3F7EE77593BE}" dt="2024-09-26T22:24:11.967" v="1877" actId="21"/>
        <pc:sldMkLst>
          <pc:docMk/>
          <pc:sldMk cId="2148817040" sldId="284"/>
        </pc:sldMkLst>
        <pc:spChg chg="mod">
          <ac:chgData name="Mats Necker" userId="2d97bddf-6881-4b42-b7ae-84f5465d8fc5" providerId="ADAL" clId="{83AE2A6F-2D47-46DC-8967-3F7EE77593BE}" dt="2024-09-26T22:24:11.967" v="1877" actId="21"/>
          <ac:spMkLst>
            <pc:docMk/>
            <pc:sldMk cId="2148817040" sldId="284"/>
            <ac:spMk id="2" creationId="{49B75C74-1D8C-FCC4-0840-47DA5209CD04}"/>
          </ac:spMkLst>
        </pc:spChg>
        <pc:spChg chg="mod">
          <ac:chgData name="Mats Necker" userId="2d97bddf-6881-4b42-b7ae-84f5465d8fc5" providerId="ADAL" clId="{83AE2A6F-2D47-46DC-8967-3F7EE77593BE}" dt="2024-09-26T17:01:13.864" v="1735" actId="113"/>
          <ac:spMkLst>
            <pc:docMk/>
            <pc:sldMk cId="2148817040" sldId="284"/>
            <ac:spMk id="10" creationId="{C7CB060F-6135-BD97-F7C6-3B9182247F25}"/>
          </ac:spMkLst>
        </pc:spChg>
      </pc:sldChg>
      <pc:sldChg chg="modSp new del mod ord">
        <pc:chgData name="Mats Necker" userId="2d97bddf-6881-4b42-b7ae-84f5465d8fc5" providerId="ADAL" clId="{83AE2A6F-2D47-46DC-8967-3F7EE77593BE}" dt="2024-09-26T16:16:34.723" v="1312" actId="47"/>
        <pc:sldMkLst>
          <pc:docMk/>
          <pc:sldMk cId="3480488500" sldId="284"/>
        </pc:sldMkLst>
        <pc:spChg chg="mod">
          <ac:chgData name="Mats Necker" userId="2d97bddf-6881-4b42-b7ae-84f5465d8fc5" providerId="ADAL" clId="{83AE2A6F-2D47-46DC-8967-3F7EE77593BE}" dt="2024-09-26T13:38:30.350" v="960" actId="5793"/>
          <ac:spMkLst>
            <pc:docMk/>
            <pc:sldMk cId="3480488500" sldId="284"/>
            <ac:spMk id="2" creationId="{63A278EA-63A8-D94D-1787-34FC6BC0C480}"/>
          </ac:spMkLst>
        </pc:spChg>
        <pc:spChg chg="mod">
          <ac:chgData name="Mats Necker" userId="2d97bddf-6881-4b42-b7ae-84f5465d8fc5" providerId="ADAL" clId="{83AE2A6F-2D47-46DC-8967-3F7EE77593BE}" dt="2024-09-26T13:38:35.097" v="977" actId="20577"/>
          <ac:spMkLst>
            <pc:docMk/>
            <pc:sldMk cId="3480488500" sldId="284"/>
            <ac:spMk id="3" creationId="{8FA64CB7-AC28-92AC-7C41-84AB71D8C32E}"/>
          </ac:spMkLst>
        </pc:spChg>
      </pc:sldChg>
      <pc:sldChg chg="new del">
        <pc:chgData name="Mats Necker" userId="2d97bddf-6881-4b42-b7ae-84f5465d8fc5" providerId="ADAL" clId="{83AE2A6F-2D47-46DC-8967-3F7EE77593BE}" dt="2024-09-26T16:18:43.376" v="1374" actId="47"/>
        <pc:sldMkLst>
          <pc:docMk/>
          <pc:sldMk cId="2084952944" sldId="2076138248"/>
        </pc:sldMkLst>
      </pc:sldChg>
      <pc:sldChg chg="add">
        <pc:chgData name="Mats Necker" userId="2d97bddf-6881-4b42-b7ae-84f5465d8fc5" providerId="ADAL" clId="{83AE2A6F-2D47-46DC-8967-3F7EE77593BE}" dt="2024-09-26T16:59:11.020" v="1681"/>
        <pc:sldMkLst>
          <pc:docMk/>
          <pc:sldMk cId="1357706914" sldId="2076138264"/>
        </pc:sldMkLst>
      </pc:sldChg>
      <pc:sldChg chg="addSp modSp mod modClrScheme modAnim chgLayout">
        <pc:chgData name="Mats Necker" userId="2d97bddf-6881-4b42-b7ae-84f5465d8fc5" providerId="ADAL" clId="{83AE2A6F-2D47-46DC-8967-3F7EE77593BE}" dt="2024-09-26T16:18:25.469" v="1373" actId="20577"/>
        <pc:sldMkLst>
          <pc:docMk/>
          <pc:sldMk cId="1751169931" sldId="2147471109"/>
        </pc:sldMkLst>
        <pc:spChg chg="add mod">
          <ac:chgData name="Mats Necker" userId="2d97bddf-6881-4b42-b7ae-84f5465d8fc5" providerId="ADAL" clId="{83AE2A6F-2D47-46DC-8967-3F7EE77593BE}" dt="2024-09-26T16:18:25.469" v="1373" actId="20577"/>
          <ac:spMkLst>
            <pc:docMk/>
            <pc:sldMk cId="1751169931" sldId="2147471109"/>
            <ac:spMk id="2" creationId="{98F8F5A3-15A1-F0EB-9180-15A7CD7804DD}"/>
          </ac:spMkLst>
        </pc:spChg>
        <pc:spChg chg="mod ord">
          <ac:chgData name="Mats Necker" userId="2d97bddf-6881-4b42-b7ae-84f5465d8fc5" providerId="ADAL" clId="{83AE2A6F-2D47-46DC-8967-3F7EE77593BE}" dt="2024-09-26T16:17:09.098" v="1354" actId="20577"/>
          <ac:spMkLst>
            <pc:docMk/>
            <pc:sldMk cId="1751169931" sldId="2147471109"/>
            <ac:spMk id="3" creationId="{00000000-0000-0000-0000-000000000000}"/>
          </ac:spMkLst>
        </pc:spChg>
        <pc:graphicFrameChg chg="mod ord">
          <ac:chgData name="Mats Necker" userId="2d97bddf-6881-4b42-b7ae-84f5465d8fc5" providerId="ADAL" clId="{83AE2A6F-2D47-46DC-8967-3F7EE77593BE}" dt="2024-09-26T16:16:25.142" v="1311" actId="1076"/>
          <ac:graphicFrameMkLst>
            <pc:docMk/>
            <pc:sldMk cId="1751169931" sldId="2147471109"/>
            <ac:graphicFrameMk id="27" creationId="{22FC70E7-3951-456E-9504-4C9CD36FF99D}"/>
          </ac:graphicFrameMkLst>
        </pc:graphicFrameChg>
      </pc:sldChg>
      <pc:sldChg chg="addSp delSp modSp new mod modClrScheme chgLayout">
        <pc:chgData name="Mats Necker" userId="2d97bddf-6881-4b42-b7ae-84f5465d8fc5" providerId="ADAL" clId="{83AE2A6F-2D47-46DC-8967-3F7EE77593BE}" dt="2024-09-26T15:55:56.149" v="1254" actId="1076"/>
        <pc:sldMkLst>
          <pc:docMk/>
          <pc:sldMk cId="1646874090" sldId="2147471110"/>
        </pc:sldMkLst>
        <pc:spChg chg="del">
          <ac:chgData name="Mats Necker" userId="2d97bddf-6881-4b42-b7ae-84f5465d8fc5" providerId="ADAL" clId="{83AE2A6F-2D47-46DC-8967-3F7EE77593BE}" dt="2024-09-26T13:42:44.268" v="980" actId="700"/>
          <ac:spMkLst>
            <pc:docMk/>
            <pc:sldMk cId="1646874090" sldId="2147471110"/>
            <ac:spMk id="2" creationId="{858258F4-5965-9B47-2BDF-79728659A7F0}"/>
          </ac:spMkLst>
        </pc:spChg>
        <pc:spChg chg="add mod">
          <ac:chgData name="Mats Necker" userId="2d97bddf-6881-4b42-b7ae-84f5465d8fc5" providerId="ADAL" clId="{83AE2A6F-2D47-46DC-8967-3F7EE77593BE}" dt="2024-09-26T13:42:50.199" v="989" actId="20577"/>
          <ac:spMkLst>
            <pc:docMk/>
            <pc:sldMk cId="1646874090" sldId="2147471110"/>
            <ac:spMk id="3" creationId="{23BF608D-2627-47AE-BD4C-64EC6808859B}"/>
          </ac:spMkLst>
        </pc:spChg>
        <pc:picChg chg="add mod">
          <ac:chgData name="Mats Necker" userId="2d97bddf-6881-4b42-b7ae-84f5465d8fc5" providerId="ADAL" clId="{83AE2A6F-2D47-46DC-8967-3F7EE77593BE}" dt="2024-09-26T15:55:56.149" v="1254" actId="1076"/>
          <ac:picMkLst>
            <pc:docMk/>
            <pc:sldMk cId="1646874090" sldId="2147471110"/>
            <ac:picMk id="5" creationId="{44BF2C4B-9A1C-BE4D-019B-035E44EF819D}"/>
          </ac:picMkLst>
        </pc:picChg>
        <pc:picChg chg="add mod">
          <ac:chgData name="Mats Necker" userId="2d97bddf-6881-4b42-b7ae-84f5465d8fc5" providerId="ADAL" clId="{83AE2A6F-2D47-46DC-8967-3F7EE77593BE}" dt="2024-09-26T15:55:52.921" v="1253" actId="1076"/>
          <ac:picMkLst>
            <pc:docMk/>
            <pc:sldMk cId="1646874090" sldId="2147471110"/>
            <ac:picMk id="7" creationId="{07694E27-574F-DE14-E3CD-493ADE8189A0}"/>
          </ac:picMkLst>
        </pc:picChg>
      </pc:sldChg>
      <pc:sldChg chg="addSp modSp new mod ord">
        <pc:chgData name="Mats Necker" userId="2d97bddf-6881-4b42-b7ae-84f5465d8fc5" providerId="ADAL" clId="{83AE2A6F-2D47-46DC-8967-3F7EE77593BE}" dt="2024-09-26T15:51:36.174" v="1245" actId="790"/>
        <pc:sldMkLst>
          <pc:docMk/>
          <pc:sldMk cId="3918387388" sldId="2147471111"/>
        </pc:sldMkLst>
        <pc:spChg chg="mod">
          <ac:chgData name="Mats Necker" userId="2d97bddf-6881-4b42-b7ae-84f5465d8fc5" providerId="ADAL" clId="{83AE2A6F-2D47-46DC-8967-3F7EE77593BE}" dt="2024-09-26T13:43:01.712" v="1015" actId="20577"/>
          <ac:spMkLst>
            <pc:docMk/>
            <pc:sldMk cId="3918387388" sldId="2147471111"/>
            <ac:spMk id="2" creationId="{B7CE7AFF-15BA-8A78-06F2-E6C5539BB91B}"/>
          </ac:spMkLst>
        </pc:spChg>
        <pc:spChg chg="add mod">
          <ac:chgData name="Mats Necker" userId="2d97bddf-6881-4b42-b7ae-84f5465d8fc5" providerId="ADAL" clId="{83AE2A6F-2D47-46DC-8967-3F7EE77593BE}" dt="2024-09-26T15:51:36.174" v="1245" actId="790"/>
          <ac:spMkLst>
            <pc:docMk/>
            <pc:sldMk cId="3918387388" sldId="2147471111"/>
            <ac:spMk id="5" creationId="{979B0A2B-A9BD-4EBE-BFD9-65191E32B31D}"/>
          </ac:spMkLst>
        </pc:spChg>
        <pc:picChg chg="add mod">
          <ac:chgData name="Mats Necker" userId="2d97bddf-6881-4b42-b7ae-84f5465d8fc5" providerId="ADAL" clId="{83AE2A6F-2D47-46DC-8967-3F7EE77593BE}" dt="2024-09-26T15:48:13.866" v="1097" actId="1076"/>
          <ac:picMkLst>
            <pc:docMk/>
            <pc:sldMk cId="3918387388" sldId="2147471111"/>
            <ac:picMk id="4" creationId="{52418770-8780-2980-D834-0AFB929ADC01}"/>
          </ac:picMkLst>
        </pc:picChg>
      </pc:sldChg>
      <pc:sldChg chg="addSp delSp modSp new mod">
        <pc:chgData name="Mats Necker" userId="2d97bddf-6881-4b42-b7ae-84f5465d8fc5" providerId="ADAL" clId="{83AE2A6F-2D47-46DC-8967-3F7EE77593BE}" dt="2024-09-26T16:49:30.465" v="1680" actId="790"/>
        <pc:sldMkLst>
          <pc:docMk/>
          <pc:sldMk cId="1804868193" sldId="2147471112"/>
        </pc:sldMkLst>
        <pc:spChg chg="mod">
          <ac:chgData name="Mats Necker" userId="2d97bddf-6881-4b42-b7ae-84f5465d8fc5" providerId="ADAL" clId="{83AE2A6F-2D47-46DC-8967-3F7EE77593BE}" dt="2024-09-26T16:19:11.019" v="1406" actId="20577"/>
          <ac:spMkLst>
            <pc:docMk/>
            <pc:sldMk cId="1804868193" sldId="2147471112"/>
            <ac:spMk id="2" creationId="{6953FAD7-48C1-12B2-FC87-A2743C968486}"/>
          </ac:spMkLst>
        </pc:spChg>
        <pc:spChg chg="del">
          <ac:chgData name="Mats Necker" userId="2d97bddf-6881-4b42-b7ae-84f5465d8fc5" providerId="ADAL" clId="{83AE2A6F-2D47-46DC-8967-3F7EE77593BE}" dt="2024-09-26T16:47:14.252" v="1577" actId="478"/>
          <ac:spMkLst>
            <pc:docMk/>
            <pc:sldMk cId="1804868193" sldId="2147471112"/>
            <ac:spMk id="3" creationId="{6A405275-7851-AA40-46CE-37626CD046F5}"/>
          </ac:spMkLst>
        </pc:spChg>
        <pc:spChg chg="add mod">
          <ac:chgData name="Mats Necker" userId="2d97bddf-6881-4b42-b7ae-84f5465d8fc5" providerId="ADAL" clId="{83AE2A6F-2D47-46DC-8967-3F7EE77593BE}" dt="2024-09-26T16:49:30.465" v="1680" actId="790"/>
          <ac:spMkLst>
            <pc:docMk/>
            <pc:sldMk cId="1804868193" sldId="2147471112"/>
            <ac:spMk id="8" creationId="{5E2E629F-8AA1-FFDB-824D-E5D5DEE73B0E}"/>
          </ac:spMkLst>
        </pc:spChg>
        <pc:picChg chg="add del mod">
          <ac:chgData name="Mats Necker" userId="2d97bddf-6881-4b42-b7ae-84f5465d8fc5" providerId="ADAL" clId="{83AE2A6F-2D47-46DC-8967-3F7EE77593BE}" dt="2024-09-26T16:47:16.188" v="1579" actId="478"/>
          <ac:picMkLst>
            <pc:docMk/>
            <pc:sldMk cId="1804868193" sldId="2147471112"/>
            <ac:picMk id="5" creationId="{99979962-7234-57D9-8DB8-4218DE1D9AFF}"/>
          </ac:picMkLst>
        </pc:picChg>
        <pc:picChg chg="add mod">
          <ac:chgData name="Mats Necker" userId="2d97bddf-6881-4b42-b7ae-84f5465d8fc5" providerId="ADAL" clId="{83AE2A6F-2D47-46DC-8967-3F7EE77593BE}" dt="2024-09-26T16:47:59.067" v="1587" actId="1076"/>
          <ac:picMkLst>
            <pc:docMk/>
            <pc:sldMk cId="1804868193" sldId="2147471112"/>
            <ac:picMk id="7" creationId="{83F34DDB-CB2E-D374-1E04-CA2918079557}"/>
          </ac:picMkLst>
        </pc:picChg>
      </pc:sldChg>
      <pc:sldChg chg="modSp add mod ord">
        <pc:chgData name="Mats Necker" userId="2d97bddf-6881-4b42-b7ae-84f5465d8fc5" providerId="ADAL" clId="{83AE2A6F-2D47-46DC-8967-3F7EE77593BE}" dt="2024-09-26T15:47:49.958" v="1084" actId="1076"/>
        <pc:sldMkLst>
          <pc:docMk/>
          <pc:sldMk cId="2290588812" sldId="2147471113"/>
        </pc:sldMkLst>
        <pc:spChg chg="mod">
          <ac:chgData name="Mats Necker" userId="2d97bddf-6881-4b42-b7ae-84f5465d8fc5" providerId="ADAL" clId="{83AE2A6F-2D47-46DC-8967-3F7EE77593BE}" dt="2024-09-26T15:47:49.958" v="1084" actId="1076"/>
          <ac:spMkLst>
            <pc:docMk/>
            <pc:sldMk cId="2290588812" sldId="2147471113"/>
            <ac:spMk id="3" creationId="{23BF608D-2627-47AE-BD4C-64EC6808859B}"/>
          </ac:spMkLst>
        </pc:spChg>
      </pc:sldChg>
      <pc:sldChg chg="addSp modSp new mod modAnim">
        <pc:chgData name="Mats Necker" userId="2d97bddf-6881-4b42-b7ae-84f5465d8fc5" providerId="ADAL" clId="{83AE2A6F-2D47-46DC-8967-3F7EE77593BE}" dt="2024-09-26T16:43:05.327" v="1561"/>
        <pc:sldMkLst>
          <pc:docMk/>
          <pc:sldMk cId="25618881" sldId="2147471114"/>
        </pc:sldMkLst>
        <pc:spChg chg="mod">
          <ac:chgData name="Mats Necker" userId="2d97bddf-6881-4b42-b7ae-84f5465d8fc5" providerId="ADAL" clId="{83AE2A6F-2D47-46DC-8967-3F7EE77593BE}" dt="2024-09-26T16:24:37.308" v="1423" actId="20577"/>
          <ac:spMkLst>
            <pc:docMk/>
            <pc:sldMk cId="25618881" sldId="2147471114"/>
            <ac:spMk id="2" creationId="{F67DD63A-1E54-70BD-4E37-739F7EEC999E}"/>
          </ac:spMkLst>
        </pc:spChg>
        <pc:spChg chg="add mod">
          <ac:chgData name="Mats Necker" userId="2d97bddf-6881-4b42-b7ae-84f5465d8fc5" providerId="ADAL" clId="{83AE2A6F-2D47-46DC-8967-3F7EE77593BE}" dt="2024-09-26T16:37:48.522" v="1518"/>
          <ac:spMkLst>
            <pc:docMk/>
            <pc:sldMk cId="25618881" sldId="2147471114"/>
            <ac:spMk id="8" creationId="{D2A7216A-D9EC-AB7F-AB24-798D25AB7AC9}"/>
          </ac:spMkLst>
        </pc:spChg>
        <pc:spChg chg="add mod">
          <ac:chgData name="Mats Necker" userId="2d97bddf-6881-4b42-b7ae-84f5465d8fc5" providerId="ADAL" clId="{83AE2A6F-2D47-46DC-8967-3F7EE77593BE}" dt="2024-09-26T16:41:18.662" v="1538" actId="113"/>
          <ac:spMkLst>
            <pc:docMk/>
            <pc:sldMk cId="25618881" sldId="2147471114"/>
            <ac:spMk id="9" creationId="{68DC6D2F-9D1C-A6A8-6027-6CC673215707}"/>
          </ac:spMkLst>
        </pc:spChg>
        <pc:spChg chg="add mod">
          <ac:chgData name="Mats Necker" userId="2d97bddf-6881-4b42-b7ae-84f5465d8fc5" providerId="ADAL" clId="{83AE2A6F-2D47-46DC-8967-3F7EE77593BE}" dt="2024-09-26T16:42:58.884" v="1559" actId="1076"/>
          <ac:spMkLst>
            <pc:docMk/>
            <pc:sldMk cId="25618881" sldId="2147471114"/>
            <ac:spMk id="12" creationId="{59A8FA44-2F84-BF1A-231B-767DD635CB8B}"/>
          </ac:spMkLst>
        </pc:spChg>
        <pc:picChg chg="add mod">
          <ac:chgData name="Mats Necker" userId="2d97bddf-6881-4b42-b7ae-84f5465d8fc5" providerId="ADAL" clId="{83AE2A6F-2D47-46DC-8967-3F7EE77593BE}" dt="2024-09-26T16:40:03.078" v="1532" actId="1076"/>
          <ac:picMkLst>
            <pc:docMk/>
            <pc:sldMk cId="25618881" sldId="2147471114"/>
            <ac:picMk id="4" creationId="{690F0C2C-476E-7A4B-63FE-182AE1A4773A}"/>
          </ac:picMkLst>
        </pc:picChg>
        <pc:cxnChg chg="add mod">
          <ac:chgData name="Mats Necker" userId="2d97bddf-6881-4b42-b7ae-84f5465d8fc5" providerId="ADAL" clId="{83AE2A6F-2D47-46DC-8967-3F7EE77593BE}" dt="2024-09-26T16:40:03.078" v="1532" actId="1076"/>
          <ac:cxnSpMkLst>
            <pc:docMk/>
            <pc:sldMk cId="25618881" sldId="2147471114"/>
            <ac:cxnSpMk id="6" creationId="{4926C71D-4CDA-0B83-FE4C-B14475DF120C}"/>
          </ac:cxnSpMkLst>
        </pc:cxnChg>
        <pc:cxnChg chg="add mod">
          <ac:chgData name="Mats Necker" userId="2d97bddf-6881-4b42-b7ae-84f5465d8fc5" providerId="ADAL" clId="{83AE2A6F-2D47-46DC-8967-3F7EE77593BE}" dt="2024-09-26T16:41:40.912" v="1542" actId="208"/>
          <ac:cxnSpMkLst>
            <pc:docMk/>
            <pc:sldMk cId="25618881" sldId="2147471114"/>
            <ac:cxnSpMk id="7" creationId="{64F312B8-B492-C9D6-A1D9-72354CC64AD9}"/>
          </ac:cxnSpMkLst>
        </pc:cxnChg>
        <pc:cxnChg chg="add mod">
          <ac:chgData name="Mats Necker" userId="2d97bddf-6881-4b42-b7ae-84f5465d8fc5" providerId="ADAL" clId="{83AE2A6F-2D47-46DC-8967-3F7EE77593BE}" dt="2024-09-26T16:40:40.312" v="1534" actId="208"/>
          <ac:cxnSpMkLst>
            <pc:docMk/>
            <pc:sldMk cId="25618881" sldId="2147471114"/>
            <ac:cxnSpMk id="10" creationId="{5B935CEA-AE29-3CA5-C33C-5608D9814D11}"/>
          </ac:cxnSpMkLst>
        </pc:cxnChg>
        <pc:cxnChg chg="add mod">
          <ac:chgData name="Mats Necker" userId="2d97bddf-6881-4b42-b7ae-84f5465d8fc5" providerId="ADAL" clId="{83AE2A6F-2D47-46DC-8967-3F7EE77593BE}" dt="2024-09-26T16:41:30.559" v="1541" actId="208"/>
          <ac:cxnSpMkLst>
            <pc:docMk/>
            <pc:sldMk cId="25618881" sldId="2147471114"/>
            <ac:cxnSpMk id="11" creationId="{3E500006-AFC2-CB38-2465-7B97A51D96C5}"/>
          </ac:cxnSpMkLst>
        </pc:cxnChg>
      </pc:sldChg>
      <pc:sldChg chg="addSp modSp new mod">
        <pc:chgData name="Mats Necker" userId="2d97bddf-6881-4b42-b7ae-84f5465d8fc5" providerId="ADAL" clId="{83AE2A6F-2D47-46DC-8967-3F7EE77593BE}" dt="2024-09-26T16:45:39.617" v="1576" actId="20577"/>
        <pc:sldMkLst>
          <pc:docMk/>
          <pc:sldMk cId="2834242584" sldId="2147471115"/>
        </pc:sldMkLst>
        <pc:spChg chg="mod">
          <ac:chgData name="Mats Necker" userId="2d97bddf-6881-4b42-b7ae-84f5465d8fc5" providerId="ADAL" clId="{83AE2A6F-2D47-46DC-8967-3F7EE77593BE}" dt="2024-09-26T16:45:39.617" v="1576" actId="20577"/>
          <ac:spMkLst>
            <pc:docMk/>
            <pc:sldMk cId="2834242584" sldId="2147471115"/>
            <ac:spMk id="2" creationId="{A9F6AD70-0900-E3F5-D64F-1E1C10D8D30D}"/>
          </ac:spMkLst>
        </pc:spChg>
        <pc:picChg chg="add mod">
          <ac:chgData name="Mats Necker" userId="2d97bddf-6881-4b42-b7ae-84f5465d8fc5" providerId="ADAL" clId="{83AE2A6F-2D47-46DC-8967-3F7EE77593BE}" dt="2024-09-26T16:45:34.696" v="1565" actId="1076"/>
          <ac:picMkLst>
            <pc:docMk/>
            <pc:sldMk cId="2834242584" sldId="2147471115"/>
            <ac:picMk id="4" creationId="{BDB8CEE4-F761-F45D-816D-E9C047CE237F}"/>
          </ac:picMkLst>
        </pc:picChg>
      </pc:sldChg>
      <pc:sldChg chg="modSp mod">
        <pc:chgData name="Mats Necker" userId="2d97bddf-6881-4b42-b7ae-84f5465d8fc5" providerId="ADAL" clId="{83AE2A6F-2D47-46DC-8967-3F7EE77593BE}" dt="2024-09-26T17:00:40.030" v="1731"/>
        <pc:sldMkLst>
          <pc:docMk/>
          <pc:sldMk cId="3778508345" sldId="2147471116"/>
        </pc:sldMkLst>
        <pc:spChg chg="mod">
          <ac:chgData name="Mats Necker" userId="2d97bddf-6881-4b42-b7ae-84f5465d8fc5" providerId="ADAL" clId="{83AE2A6F-2D47-46DC-8967-3F7EE77593BE}" dt="2024-09-26T17:00:40.030" v="1731"/>
          <ac:spMkLst>
            <pc:docMk/>
            <pc:sldMk cId="3778508345" sldId="2147471116"/>
            <ac:spMk id="2" creationId="{FA0E685F-3078-8DA0-0387-A497A7608728}"/>
          </ac:spMkLst>
        </pc:spChg>
      </pc:sldChg>
      <pc:sldMasterChg chg="delSldLayout modSldLayout">
        <pc:chgData name="Mats Necker" userId="2d97bddf-6881-4b42-b7ae-84f5465d8fc5" providerId="ADAL" clId="{83AE2A6F-2D47-46DC-8967-3F7EE77593BE}" dt="2024-09-26T05:05:55.143" v="673" actId="120"/>
        <pc:sldMasterMkLst>
          <pc:docMk/>
          <pc:sldMasterMk cId="2442052047" sldId="2147483698"/>
        </pc:sldMasterMkLst>
        <pc:sldLayoutChg chg="modSp">
          <pc:chgData name="Mats Necker" userId="2d97bddf-6881-4b42-b7ae-84f5465d8fc5" providerId="ADAL" clId="{83AE2A6F-2D47-46DC-8967-3F7EE77593BE}" dt="2024-09-26T05:05:55.143" v="673" actId="120"/>
          <pc:sldLayoutMkLst>
            <pc:docMk/>
            <pc:sldMasterMk cId="2442052047" sldId="2147483698"/>
            <pc:sldLayoutMk cId="2744541188" sldId="2147483734"/>
          </pc:sldLayoutMkLst>
          <pc:spChg chg="mod">
            <ac:chgData name="Mats Necker" userId="2d97bddf-6881-4b42-b7ae-84f5465d8fc5" providerId="ADAL" clId="{83AE2A6F-2D47-46DC-8967-3F7EE77593BE}" dt="2024-09-26T05:05:55.143" v="673" actId="120"/>
            <ac:spMkLst>
              <pc:docMk/>
              <pc:sldMasterMk cId="2442052047" sldId="2147483698"/>
              <pc:sldLayoutMk cId="2744541188" sldId="2147483734"/>
              <ac:spMk id="2" creationId="{00000000-0000-0000-0000-000000000000}"/>
            </ac:spMkLst>
          </pc:spChg>
        </pc:sldLayoutChg>
        <pc:sldLayoutChg chg="modSp">
          <pc:chgData name="Mats Necker" userId="2d97bddf-6881-4b42-b7ae-84f5465d8fc5" providerId="ADAL" clId="{83AE2A6F-2D47-46DC-8967-3F7EE77593BE}" dt="2024-09-26T05:05:49.846" v="672" actId="120"/>
          <pc:sldLayoutMkLst>
            <pc:docMk/>
            <pc:sldMasterMk cId="2442052047" sldId="2147483698"/>
            <pc:sldLayoutMk cId="3144921924" sldId="2147483744"/>
          </pc:sldLayoutMkLst>
          <pc:spChg chg="mod">
            <ac:chgData name="Mats Necker" userId="2d97bddf-6881-4b42-b7ae-84f5465d8fc5" providerId="ADAL" clId="{83AE2A6F-2D47-46DC-8967-3F7EE77593BE}" dt="2024-09-26T05:05:49.846" v="672" actId="120"/>
            <ac:spMkLst>
              <pc:docMk/>
              <pc:sldMasterMk cId="2442052047" sldId="2147483698"/>
              <pc:sldLayoutMk cId="3144921924" sldId="2147483744"/>
              <ac:spMk id="2" creationId="{00000000-0000-0000-0000-000000000000}"/>
            </ac:spMkLst>
          </pc:spChg>
        </pc:sldLayoutChg>
        <pc:sldLayoutChg chg="modSp">
          <pc:chgData name="Mats Necker" userId="2d97bddf-6881-4b42-b7ae-84f5465d8fc5" providerId="ADAL" clId="{83AE2A6F-2D47-46DC-8967-3F7EE77593BE}" dt="2024-09-26T05:05:46.270" v="671" actId="120"/>
          <pc:sldLayoutMkLst>
            <pc:docMk/>
            <pc:sldMasterMk cId="2442052047" sldId="2147483698"/>
            <pc:sldLayoutMk cId="2124941650" sldId="2147483745"/>
          </pc:sldLayoutMkLst>
          <pc:spChg chg="mod">
            <ac:chgData name="Mats Necker" userId="2d97bddf-6881-4b42-b7ae-84f5465d8fc5" providerId="ADAL" clId="{83AE2A6F-2D47-46DC-8967-3F7EE77593BE}" dt="2024-09-26T05:05:46.270" v="671" actId="120"/>
            <ac:spMkLst>
              <pc:docMk/>
              <pc:sldMasterMk cId="2442052047" sldId="2147483698"/>
              <pc:sldLayoutMk cId="2124941650" sldId="2147483745"/>
              <ac:spMk id="3" creationId="{52ECD997-B110-13A5-7779-15844810EFA8}"/>
            </ac:spMkLst>
          </pc:spChg>
        </pc:sldLayoutChg>
        <pc:sldLayoutChg chg="del">
          <pc:chgData name="Mats Necker" userId="2d97bddf-6881-4b42-b7ae-84f5465d8fc5" providerId="ADAL" clId="{83AE2A6F-2D47-46DC-8967-3F7EE77593BE}" dt="2024-09-26T03:47:51.391" v="35" actId="47"/>
          <pc:sldLayoutMkLst>
            <pc:docMk/>
            <pc:sldMasterMk cId="2442052047" sldId="2147483698"/>
            <pc:sldLayoutMk cId="3396973349" sldId="2147483759"/>
          </pc:sldLayoutMkLst>
        </pc:sldLayoutChg>
      </pc:sldMasterChg>
    </pc:docChg>
  </pc:docChgLst>
  <pc:docChgLst>
    <pc:chgData name="Daniel Laskewitz" userId="004e9a81-59d4-47b4-8bee-4f6da7cf9d9d" providerId="ADAL" clId="{25FF35D8-D3A3-47DD-A7B0-61FCE1F10198}"/>
    <pc:docChg chg="addSld delSld modSld">
      <pc:chgData name="Daniel Laskewitz" userId="004e9a81-59d4-47b4-8bee-4f6da7cf9d9d" providerId="ADAL" clId="{25FF35D8-D3A3-47DD-A7B0-61FCE1F10198}" dt="2024-09-27T10:18:40.625" v="4" actId="20577"/>
      <pc:docMkLst>
        <pc:docMk/>
      </pc:docMkLst>
      <pc:sldChg chg="add">
        <pc:chgData name="Daniel Laskewitz" userId="004e9a81-59d4-47b4-8bee-4f6da7cf9d9d" providerId="ADAL" clId="{25FF35D8-D3A3-47DD-A7B0-61FCE1F10198}" dt="2024-09-26T13:40:48.091" v="1"/>
        <pc:sldMkLst>
          <pc:docMk/>
          <pc:sldMk cId="2792437428" sldId="272"/>
        </pc:sldMkLst>
      </pc:sldChg>
      <pc:sldChg chg="del">
        <pc:chgData name="Daniel Laskewitz" userId="004e9a81-59d4-47b4-8bee-4f6da7cf9d9d" providerId="ADAL" clId="{25FF35D8-D3A3-47DD-A7B0-61FCE1F10198}" dt="2024-09-26T13:40:49.640" v="2" actId="47"/>
        <pc:sldMkLst>
          <pc:docMk/>
          <pc:sldMk cId="658543069" sldId="2076138247"/>
        </pc:sldMkLst>
      </pc:sldChg>
      <pc:sldChg chg="modSp mod">
        <pc:chgData name="Daniel Laskewitz" userId="004e9a81-59d4-47b4-8bee-4f6da7cf9d9d" providerId="ADAL" clId="{25FF35D8-D3A3-47DD-A7B0-61FCE1F10198}" dt="2024-09-27T10:18:40.625" v="4" actId="20577"/>
        <pc:sldMkLst>
          <pc:docMk/>
          <pc:sldMk cId="186016401" sldId="2076138266"/>
        </pc:sldMkLst>
        <pc:spChg chg="mod">
          <ac:chgData name="Daniel Laskewitz" userId="004e9a81-59d4-47b4-8bee-4f6da7cf9d9d" providerId="ADAL" clId="{25FF35D8-D3A3-47DD-A7B0-61FCE1F10198}" dt="2024-09-27T10:18:40.625" v="4" actId="20577"/>
          <ac:spMkLst>
            <pc:docMk/>
            <pc:sldMk cId="186016401" sldId="2076138266"/>
            <ac:spMk id="10" creationId="{16A3BEBD-339A-153E-8E05-83FE7148F4A2}"/>
          </ac:spMkLst>
        </pc:spChg>
      </pc:sldChg>
      <pc:sldChg chg="add">
        <pc:chgData name="Daniel Laskewitz" userId="004e9a81-59d4-47b4-8bee-4f6da7cf9d9d" providerId="ADAL" clId="{25FF35D8-D3A3-47DD-A7B0-61FCE1F10198}" dt="2024-09-26T13:39:41.925" v="0"/>
        <pc:sldMkLst>
          <pc:docMk/>
          <pc:sldMk cId="1751169931" sldId="2147471109"/>
        </pc:sldMkLst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svg"/><Relationship Id="rId3" Type="http://schemas.openxmlformats.org/officeDocument/2006/relationships/image" Target="../media/image87.png"/><Relationship Id="rId7" Type="http://schemas.openxmlformats.org/officeDocument/2006/relationships/image" Target="../media/image91.png"/><Relationship Id="rId12" Type="http://schemas.openxmlformats.org/officeDocument/2006/relationships/image" Target="../media/image96.svg"/><Relationship Id="rId2" Type="http://schemas.openxmlformats.org/officeDocument/2006/relationships/image" Target="../media/image86.svg"/><Relationship Id="rId1" Type="http://schemas.openxmlformats.org/officeDocument/2006/relationships/image" Target="../media/image85.png"/><Relationship Id="rId6" Type="http://schemas.openxmlformats.org/officeDocument/2006/relationships/image" Target="../media/image90.svg"/><Relationship Id="rId11" Type="http://schemas.openxmlformats.org/officeDocument/2006/relationships/image" Target="../media/image95.png"/><Relationship Id="rId5" Type="http://schemas.openxmlformats.org/officeDocument/2006/relationships/image" Target="../media/image89.png"/><Relationship Id="rId10" Type="http://schemas.openxmlformats.org/officeDocument/2006/relationships/image" Target="../media/image94.svg"/><Relationship Id="rId4" Type="http://schemas.openxmlformats.org/officeDocument/2006/relationships/image" Target="../media/image88.svg"/><Relationship Id="rId9" Type="http://schemas.openxmlformats.org/officeDocument/2006/relationships/image" Target="../media/image93.png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svg"/><Relationship Id="rId3" Type="http://schemas.openxmlformats.org/officeDocument/2006/relationships/image" Target="../media/image87.png"/><Relationship Id="rId7" Type="http://schemas.openxmlformats.org/officeDocument/2006/relationships/image" Target="../media/image101.png"/><Relationship Id="rId2" Type="http://schemas.openxmlformats.org/officeDocument/2006/relationships/image" Target="../media/image98.svg"/><Relationship Id="rId1" Type="http://schemas.openxmlformats.org/officeDocument/2006/relationships/image" Target="../media/image97.png"/><Relationship Id="rId6" Type="http://schemas.openxmlformats.org/officeDocument/2006/relationships/image" Target="../media/image100.svg"/><Relationship Id="rId11" Type="http://schemas.openxmlformats.org/officeDocument/2006/relationships/image" Target="../media/image105.png"/><Relationship Id="rId5" Type="http://schemas.openxmlformats.org/officeDocument/2006/relationships/image" Target="../media/image99.png"/><Relationship Id="rId10" Type="http://schemas.openxmlformats.org/officeDocument/2006/relationships/image" Target="../media/image104.svg"/><Relationship Id="rId4" Type="http://schemas.openxmlformats.org/officeDocument/2006/relationships/image" Target="../media/image88.svg"/><Relationship Id="rId9" Type="http://schemas.openxmlformats.org/officeDocument/2006/relationships/image" Target="../media/image103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svg"/><Relationship Id="rId3" Type="http://schemas.openxmlformats.org/officeDocument/2006/relationships/image" Target="../media/image87.png"/><Relationship Id="rId7" Type="http://schemas.openxmlformats.org/officeDocument/2006/relationships/image" Target="../media/image91.png"/><Relationship Id="rId12" Type="http://schemas.openxmlformats.org/officeDocument/2006/relationships/image" Target="../media/image96.svg"/><Relationship Id="rId2" Type="http://schemas.openxmlformats.org/officeDocument/2006/relationships/image" Target="../media/image86.svg"/><Relationship Id="rId1" Type="http://schemas.openxmlformats.org/officeDocument/2006/relationships/image" Target="../media/image85.png"/><Relationship Id="rId6" Type="http://schemas.openxmlformats.org/officeDocument/2006/relationships/image" Target="../media/image90.svg"/><Relationship Id="rId11" Type="http://schemas.openxmlformats.org/officeDocument/2006/relationships/image" Target="../media/image95.png"/><Relationship Id="rId5" Type="http://schemas.openxmlformats.org/officeDocument/2006/relationships/image" Target="../media/image89.png"/><Relationship Id="rId10" Type="http://schemas.openxmlformats.org/officeDocument/2006/relationships/image" Target="../media/image94.svg"/><Relationship Id="rId4" Type="http://schemas.openxmlformats.org/officeDocument/2006/relationships/image" Target="../media/image88.svg"/><Relationship Id="rId9" Type="http://schemas.openxmlformats.org/officeDocument/2006/relationships/image" Target="../media/image93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svg"/><Relationship Id="rId3" Type="http://schemas.openxmlformats.org/officeDocument/2006/relationships/image" Target="../media/image87.png"/><Relationship Id="rId7" Type="http://schemas.openxmlformats.org/officeDocument/2006/relationships/image" Target="../media/image101.png"/><Relationship Id="rId2" Type="http://schemas.openxmlformats.org/officeDocument/2006/relationships/image" Target="../media/image98.svg"/><Relationship Id="rId1" Type="http://schemas.openxmlformats.org/officeDocument/2006/relationships/image" Target="../media/image97.png"/><Relationship Id="rId6" Type="http://schemas.openxmlformats.org/officeDocument/2006/relationships/image" Target="../media/image100.svg"/><Relationship Id="rId11" Type="http://schemas.openxmlformats.org/officeDocument/2006/relationships/image" Target="../media/image105.png"/><Relationship Id="rId5" Type="http://schemas.openxmlformats.org/officeDocument/2006/relationships/image" Target="../media/image99.png"/><Relationship Id="rId10" Type="http://schemas.openxmlformats.org/officeDocument/2006/relationships/image" Target="../media/image104.svg"/><Relationship Id="rId4" Type="http://schemas.openxmlformats.org/officeDocument/2006/relationships/image" Target="../media/image88.svg"/><Relationship Id="rId9" Type="http://schemas.openxmlformats.org/officeDocument/2006/relationships/image" Target="../media/image10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6284740-5D9C-4CB9-A80E-2256237ED06D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28F87831-9F73-46E8-A899-A5D1E6C0F8FA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 baseline="0">
              <a:latin typeface="Segoe UI Light" panose="020B0502040204020203" pitchFamily="34" charset="0"/>
            </a:rPr>
            <a:t>Read the docs / know the API you want to build the connector for</a:t>
          </a:r>
          <a:endParaRPr lang="en-US" b="0" i="0">
            <a:latin typeface="Segoe UI Light" panose="020B0502040204020203" pitchFamily="34" charset="0"/>
          </a:endParaRPr>
        </a:p>
      </dgm:t>
    </dgm:pt>
    <dgm:pt modelId="{F43C922A-9C74-4D84-A092-25CEACF6A797}" type="parTrans" cxnId="{86B4484C-0AA8-4716-A92A-F7150B65D707}">
      <dgm:prSet/>
      <dgm:spPr/>
      <dgm:t>
        <a:bodyPr/>
        <a:lstStyle/>
        <a:p>
          <a:endParaRPr lang="en-US"/>
        </a:p>
      </dgm:t>
    </dgm:pt>
    <dgm:pt modelId="{30D904F6-9EF5-441E-B6D8-BA6920103DF1}" type="sibTrans" cxnId="{86B4484C-0AA8-4716-A92A-F7150B65D707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F759548A-8F23-1148-AB3A-36BE65169F3A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>
              <a:latin typeface="Segoe UI Light" panose="020B0502040204020203" pitchFamily="34" charset="0"/>
            </a:rPr>
            <a:t>Start in one of the products (Power Apps, Power Automate or Logic Apps)</a:t>
          </a:r>
        </a:p>
      </dgm:t>
    </dgm:pt>
    <dgm:pt modelId="{6058C71F-83E7-9746-ABA1-A5F97FC10CD0}" type="parTrans" cxnId="{6463544D-DC7D-5546-B025-4C0312076A1D}">
      <dgm:prSet/>
      <dgm:spPr/>
      <dgm:t>
        <a:bodyPr/>
        <a:lstStyle/>
        <a:p>
          <a:endParaRPr lang="en-GB"/>
        </a:p>
      </dgm:t>
    </dgm:pt>
    <dgm:pt modelId="{D5DCEAAD-B9B1-624E-8FD1-4E3FB2A553F9}" type="sibTrans" cxnId="{6463544D-DC7D-5546-B025-4C0312076A1D}">
      <dgm:prSet/>
      <dgm:spPr/>
      <dgm:t>
        <a:bodyPr/>
        <a:lstStyle/>
        <a:p>
          <a:endParaRPr lang="en-GB"/>
        </a:p>
      </dgm:t>
    </dgm:pt>
    <dgm:pt modelId="{395476C8-058D-B342-AE8B-C26B3411C43E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>
              <a:latin typeface="Segoe UI Light" panose="020B0502040204020203" pitchFamily="34" charset="0"/>
            </a:rPr>
            <a:t>Set up the authentication</a:t>
          </a:r>
        </a:p>
      </dgm:t>
    </dgm:pt>
    <dgm:pt modelId="{D714D613-3B03-C342-AB9E-D656FA43594A}" type="parTrans" cxnId="{7C12BF11-A3CF-A846-B6FC-C3DEFBD88FF3}">
      <dgm:prSet/>
      <dgm:spPr/>
      <dgm:t>
        <a:bodyPr/>
        <a:lstStyle/>
        <a:p>
          <a:endParaRPr lang="en-GB"/>
        </a:p>
      </dgm:t>
    </dgm:pt>
    <dgm:pt modelId="{07FF3CD5-B519-FC42-B8B2-7373C1F695C7}" type="sibTrans" cxnId="{7C12BF11-A3CF-A846-B6FC-C3DEFBD88FF3}">
      <dgm:prSet/>
      <dgm:spPr/>
      <dgm:t>
        <a:bodyPr/>
        <a:lstStyle/>
        <a:p>
          <a:endParaRPr lang="en-GB"/>
        </a:p>
      </dgm:t>
    </dgm:pt>
    <dgm:pt modelId="{CA6C56D4-40A3-0C4B-A36E-9453E3092583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>
              <a:latin typeface="Segoe UI Light" panose="020B0502040204020203" pitchFamily="34" charset="0"/>
            </a:rPr>
            <a:t>Define the operations (triggers / actions) for your connector</a:t>
          </a:r>
        </a:p>
      </dgm:t>
    </dgm:pt>
    <dgm:pt modelId="{9E533490-09B5-2C45-A8D8-8A74DADBDBDD}" type="parTrans" cxnId="{557EA95E-A05C-7A4E-ABF6-A7B15CE98D49}">
      <dgm:prSet/>
      <dgm:spPr/>
      <dgm:t>
        <a:bodyPr/>
        <a:lstStyle/>
        <a:p>
          <a:endParaRPr lang="en-GB"/>
        </a:p>
      </dgm:t>
    </dgm:pt>
    <dgm:pt modelId="{6F72DD59-9D86-E548-B25B-C25931B212B2}" type="sibTrans" cxnId="{557EA95E-A05C-7A4E-ABF6-A7B15CE98D49}">
      <dgm:prSet/>
      <dgm:spPr/>
      <dgm:t>
        <a:bodyPr/>
        <a:lstStyle/>
        <a:p>
          <a:endParaRPr lang="en-GB"/>
        </a:p>
      </dgm:t>
    </dgm:pt>
    <dgm:pt modelId="{A4FC7F5C-CD47-584E-913A-DEA7812FCF8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>
              <a:latin typeface="Segoe UI Light" panose="020B0502040204020203" pitchFamily="34" charset="0"/>
            </a:rPr>
            <a:t>Add code if needed (for now, C# code is supported)</a:t>
          </a:r>
        </a:p>
      </dgm:t>
    </dgm:pt>
    <dgm:pt modelId="{F647AC8F-EB90-704A-946F-D78FF39D3EA2}" type="parTrans" cxnId="{208B595E-7C7D-5F46-B28A-9D74F9EAD971}">
      <dgm:prSet/>
      <dgm:spPr/>
      <dgm:t>
        <a:bodyPr/>
        <a:lstStyle/>
        <a:p>
          <a:endParaRPr lang="en-GB"/>
        </a:p>
      </dgm:t>
    </dgm:pt>
    <dgm:pt modelId="{8BC41209-98D1-3C4F-8983-A777A14D822E}" type="sibTrans" cxnId="{208B595E-7C7D-5F46-B28A-9D74F9EAD971}">
      <dgm:prSet/>
      <dgm:spPr/>
      <dgm:t>
        <a:bodyPr/>
        <a:lstStyle/>
        <a:p>
          <a:endParaRPr lang="en-GB"/>
        </a:p>
      </dgm:t>
    </dgm:pt>
    <dgm:pt modelId="{62B76224-1025-3D49-8B9A-CC6EB395A07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>
              <a:latin typeface="Segoe UI Light" panose="020B0502040204020203" pitchFamily="34" charset="0"/>
            </a:rPr>
            <a:t>Save and test your connector</a:t>
          </a:r>
        </a:p>
      </dgm:t>
    </dgm:pt>
    <dgm:pt modelId="{FF94AACC-E2D4-7243-932A-27611F661904}" type="parTrans" cxnId="{605C8B7E-1DB7-EC40-AB98-9EC611CF016D}">
      <dgm:prSet/>
      <dgm:spPr/>
      <dgm:t>
        <a:bodyPr/>
        <a:lstStyle/>
        <a:p>
          <a:endParaRPr lang="en-GB"/>
        </a:p>
      </dgm:t>
    </dgm:pt>
    <dgm:pt modelId="{917A66DE-2F75-CE44-9250-E319B2E467E5}" type="sibTrans" cxnId="{605C8B7E-1DB7-EC40-AB98-9EC611CF016D}">
      <dgm:prSet/>
      <dgm:spPr/>
      <dgm:t>
        <a:bodyPr/>
        <a:lstStyle/>
        <a:p>
          <a:endParaRPr lang="en-GB"/>
        </a:p>
      </dgm:t>
    </dgm:pt>
    <dgm:pt modelId="{8893DF99-431C-4F42-B88C-FBDB9433E11B}" type="pres">
      <dgm:prSet presAssocID="{B6284740-5D9C-4CB9-A80E-2256237ED06D}" presName="root" presStyleCnt="0">
        <dgm:presLayoutVars>
          <dgm:dir/>
          <dgm:resizeHandles val="exact"/>
        </dgm:presLayoutVars>
      </dgm:prSet>
      <dgm:spPr/>
    </dgm:pt>
    <dgm:pt modelId="{97595F3B-CF39-40B6-9001-4E74048254AD}" type="pres">
      <dgm:prSet presAssocID="{28F87831-9F73-46E8-A899-A5D1E6C0F8FA}" presName="compNode" presStyleCnt="0"/>
      <dgm:spPr/>
    </dgm:pt>
    <dgm:pt modelId="{AB20D592-C47D-480E-9FCE-0B6AA553978A}" type="pres">
      <dgm:prSet presAssocID="{28F87831-9F73-46E8-A899-A5D1E6C0F8FA}" presName="bgRect" presStyleLbl="bgShp" presStyleIdx="0" presStyleCnt="6"/>
      <dgm:spPr>
        <a:solidFill>
          <a:schemeClr val="bg2"/>
        </a:solidFill>
      </dgm:spPr>
    </dgm:pt>
    <dgm:pt modelId="{0F544F2F-7B63-4213-B3D8-8A7273281936}" type="pres">
      <dgm:prSet presAssocID="{28F87831-9F73-46E8-A899-A5D1E6C0F8FA}" presName="iconRect" presStyleLbl="node1" presStyleIdx="0" presStyleCnt="6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losed book with solid fill"/>
        </a:ext>
      </dgm:extLst>
    </dgm:pt>
    <dgm:pt modelId="{B7868FB5-B477-43DE-AEEC-49C6AC93569A}" type="pres">
      <dgm:prSet presAssocID="{28F87831-9F73-46E8-A899-A5D1E6C0F8FA}" presName="spaceRect" presStyleCnt="0"/>
      <dgm:spPr/>
    </dgm:pt>
    <dgm:pt modelId="{B892899B-6826-4880-BD30-CE5A016393F8}" type="pres">
      <dgm:prSet presAssocID="{28F87831-9F73-46E8-A899-A5D1E6C0F8FA}" presName="parTx" presStyleLbl="revTx" presStyleIdx="0" presStyleCnt="6">
        <dgm:presLayoutVars>
          <dgm:chMax val="0"/>
          <dgm:chPref val="0"/>
        </dgm:presLayoutVars>
      </dgm:prSet>
      <dgm:spPr/>
    </dgm:pt>
    <dgm:pt modelId="{A61A350C-5552-0D4B-A010-BE5C01E1B483}" type="pres">
      <dgm:prSet presAssocID="{30D904F6-9EF5-441E-B6D8-BA6920103DF1}" presName="sibTrans" presStyleCnt="0"/>
      <dgm:spPr/>
    </dgm:pt>
    <dgm:pt modelId="{8713B450-C2A7-6A45-BEC3-0DB65ED59762}" type="pres">
      <dgm:prSet presAssocID="{F759548A-8F23-1148-AB3A-36BE65169F3A}" presName="compNode" presStyleCnt="0"/>
      <dgm:spPr/>
    </dgm:pt>
    <dgm:pt modelId="{4CDB3BC9-94A8-1942-A0D7-A6C018FBD8C0}" type="pres">
      <dgm:prSet presAssocID="{F759548A-8F23-1148-AB3A-36BE65169F3A}" presName="bgRect" presStyleLbl="bgShp" presStyleIdx="1" presStyleCnt="6"/>
      <dgm:spPr>
        <a:solidFill>
          <a:schemeClr val="bg2"/>
        </a:solidFill>
      </dgm:spPr>
    </dgm:pt>
    <dgm:pt modelId="{78F5EC67-82DB-3A47-BE47-F2ADC99F3A08}" type="pres">
      <dgm:prSet presAssocID="{F759548A-8F23-1148-AB3A-36BE65169F3A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Rocket with solid fill"/>
        </a:ext>
      </dgm:extLst>
    </dgm:pt>
    <dgm:pt modelId="{ACD68306-3564-7F41-81F8-9F5A1B51C1C5}" type="pres">
      <dgm:prSet presAssocID="{F759548A-8F23-1148-AB3A-36BE65169F3A}" presName="spaceRect" presStyleCnt="0"/>
      <dgm:spPr/>
    </dgm:pt>
    <dgm:pt modelId="{79082CCF-919A-1445-A443-34F82F2607F2}" type="pres">
      <dgm:prSet presAssocID="{F759548A-8F23-1148-AB3A-36BE65169F3A}" presName="parTx" presStyleLbl="revTx" presStyleIdx="1" presStyleCnt="6">
        <dgm:presLayoutVars>
          <dgm:chMax val="0"/>
          <dgm:chPref val="0"/>
        </dgm:presLayoutVars>
      </dgm:prSet>
      <dgm:spPr/>
    </dgm:pt>
    <dgm:pt modelId="{744771DB-2C81-0545-BEFB-6DB44248FD2A}" type="pres">
      <dgm:prSet presAssocID="{D5DCEAAD-B9B1-624E-8FD1-4E3FB2A553F9}" presName="sibTrans" presStyleCnt="0"/>
      <dgm:spPr/>
    </dgm:pt>
    <dgm:pt modelId="{DBCFCFB7-CF67-1B44-ADA5-DA4864527DFE}" type="pres">
      <dgm:prSet presAssocID="{395476C8-058D-B342-AE8B-C26B3411C43E}" presName="compNode" presStyleCnt="0"/>
      <dgm:spPr/>
    </dgm:pt>
    <dgm:pt modelId="{B4969633-86E4-AB41-BEEF-CAF2378C4FFC}" type="pres">
      <dgm:prSet presAssocID="{395476C8-058D-B342-AE8B-C26B3411C43E}" presName="bgRect" presStyleLbl="bgShp" presStyleIdx="2" presStyleCnt="6"/>
      <dgm:spPr>
        <a:solidFill>
          <a:schemeClr val="bg2"/>
        </a:solidFill>
      </dgm:spPr>
    </dgm:pt>
    <dgm:pt modelId="{BAA21375-639A-3F41-8793-387ACBF9EA6B}" type="pres">
      <dgm:prSet presAssocID="{395476C8-058D-B342-AE8B-C26B3411C43E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Lock with solid fill"/>
        </a:ext>
      </dgm:extLst>
    </dgm:pt>
    <dgm:pt modelId="{BB9D1799-7EFD-844C-8F8B-B1965F798118}" type="pres">
      <dgm:prSet presAssocID="{395476C8-058D-B342-AE8B-C26B3411C43E}" presName="spaceRect" presStyleCnt="0"/>
      <dgm:spPr/>
    </dgm:pt>
    <dgm:pt modelId="{1464BE0B-40F6-8D46-B696-2F043B63C4F9}" type="pres">
      <dgm:prSet presAssocID="{395476C8-058D-B342-AE8B-C26B3411C43E}" presName="parTx" presStyleLbl="revTx" presStyleIdx="2" presStyleCnt="6">
        <dgm:presLayoutVars>
          <dgm:chMax val="0"/>
          <dgm:chPref val="0"/>
        </dgm:presLayoutVars>
      </dgm:prSet>
      <dgm:spPr/>
    </dgm:pt>
    <dgm:pt modelId="{A2FB444D-6529-1C4C-B773-4BCC87E0C34A}" type="pres">
      <dgm:prSet presAssocID="{07FF3CD5-B519-FC42-B8B2-7373C1F695C7}" presName="sibTrans" presStyleCnt="0"/>
      <dgm:spPr/>
    </dgm:pt>
    <dgm:pt modelId="{00D43745-CFFC-E741-8809-AAAC66A54311}" type="pres">
      <dgm:prSet presAssocID="{CA6C56D4-40A3-0C4B-A36E-9453E3092583}" presName="compNode" presStyleCnt="0"/>
      <dgm:spPr/>
    </dgm:pt>
    <dgm:pt modelId="{9BEC0F33-85C8-F249-8219-2A26EF3935D7}" type="pres">
      <dgm:prSet presAssocID="{CA6C56D4-40A3-0C4B-A36E-9453E3092583}" presName="bgRect" presStyleLbl="bgShp" presStyleIdx="3" presStyleCnt="6"/>
      <dgm:spPr>
        <a:solidFill>
          <a:schemeClr val="bg2"/>
        </a:solidFill>
      </dgm:spPr>
    </dgm:pt>
    <dgm:pt modelId="{66DDA7D1-85F3-464F-A13A-715D7A05735B}" type="pres">
      <dgm:prSet presAssocID="{CA6C56D4-40A3-0C4B-A36E-9453E3092583}" presName="iconRect" presStyleLbl="node1" presStyleIdx="3" presStyleCnt="6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lay with solid fill"/>
        </a:ext>
      </dgm:extLst>
    </dgm:pt>
    <dgm:pt modelId="{38E8B4E4-9D44-D240-B3DA-EF2CBFF967F2}" type="pres">
      <dgm:prSet presAssocID="{CA6C56D4-40A3-0C4B-A36E-9453E3092583}" presName="spaceRect" presStyleCnt="0"/>
      <dgm:spPr/>
    </dgm:pt>
    <dgm:pt modelId="{E439FD84-2DF6-2B48-9EC9-760552FA8F7A}" type="pres">
      <dgm:prSet presAssocID="{CA6C56D4-40A3-0C4B-A36E-9453E3092583}" presName="parTx" presStyleLbl="revTx" presStyleIdx="3" presStyleCnt="6">
        <dgm:presLayoutVars>
          <dgm:chMax val="0"/>
          <dgm:chPref val="0"/>
        </dgm:presLayoutVars>
      </dgm:prSet>
      <dgm:spPr/>
    </dgm:pt>
    <dgm:pt modelId="{16BB8B05-5407-8F42-B70B-627579B87B0A}" type="pres">
      <dgm:prSet presAssocID="{6F72DD59-9D86-E548-B25B-C25931B212B2}" presName="sibTrans" presStyleCnt="0"/>
      <dgm:spPr/>
    </dgm:pt>
    <dgm:pt modelId="{499F2DEE-5224-F448-A613-2D1C4254C074}" type="pres">
      <dgm:prSet presAssocID="{A4FC7F5C-CD47-584E-913A-DEA7812FCF8C}" presName="compNode" presStyleCnt="0"/>
      <dgm:spPr/>
    </dgm:pt>
    <dgm:pt modelId="{DEBA26BF-3BEB-0B4C-9FF0-E194176C0F71}" type="pres">
      <dgm:prSet presAssocID="{A4FC7F5C-CD47-584E-913A-DEA7812FCF8C}" presName="bgRect" presStyleLbl="bgShp" presStyleIdx="4" presStyleCnt="6"/>
      <dgm:spPr>
        <a:solidFill>
          <a:schemeClr val="bg2"/>
        </a:solidFill>
      </dgm:spPr>
    </dgm:pt>
    <dgm:pt modelId="{A7BA3752-C53F-CC4D-9971-45D05F271C60}" type="pres">
      <dgm:prSet presAssocID="{A4FC7F5C-CD47-584E-913A-DEA7812FCF8C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rogrammer male with solid fill"/>
        </a:ext>
      </dgm:extLst>
    </dgm:pt>
    <dgm:pt modelId="{9EC82767-128E-244F-973F-7FEC0A67F6CE}" type="pres">
      <dgm:prSet presAssocID="{A4FC7F5C-CD47-584E-913A-DEA7812FCF8C}" presName="spaceRect" presStyleCnt="0"/>
      <dgm:spPr/>
    </dgm:pt>
    <dgm:pt modelId="{D3EE60BA-FF61-404F-A1E3-0F4CED78D285}" type="pres">
      <dgm:prSet presAssocID="{A4FC7F5C-CD47-584E-913A-DEA7812FCF8C}" presName="parTx" presStyleLbl="revTx" presStyleIdx="4" presStyleCnt="6">
        <dgm:presLayoutVars>
          <dgm:chMax val="0"/>
          <dgm:chPref val="0"/>
        </dgm:presLayoutVars>
      </dgm:prSet>
      <dgm:spPr/>
    </dgm:pt>
    <dgm:pt modelId="{57DD7F64-F539-EC4A-97C3-263E4B45C64A}" type="pres">
      <dgm:prSet presAssocID="{8BC41209-98D1-3C4F-8983-A777A14D822E}" presName="sibTrans" presStyleCnt="0"/>
      <dgm:spPr/>
    </dgm:pt>
    <dgm:pt modelId="{2EB44B44-F736-014E-B8FB-A7299B6A236E}" type="pres">
      <dgm:prSet presAssocID="{62B76224-1025-3D49-8B9A-CC6EB395A07F}" presName="compNode" presStyleCnt="0"/>
      <dgm:spPr/>
    </dgm:pt>
    <dgm:pt modelId="{A4D0A183-46B9-9346-94F0-9738B4929113}" type="pres">
      <dgm:prSet presAssocID="{62B76224-1025-3D49-8B9A-CC6EB395A07F}" presName="bgRect" presStyleLbl="bgShp" presStyleIdx="5" presStyleCnt="6"/>
      <dgm:spPr>
        <a:solidFill>
          <a:schemeClr val="bg2"/>
        </a:solidFill>
      </dgm:spPr>
    </dgm:pt>
    <dgm:pt modelId="{88313EBB-02AE-F348-BDDE-07C72027FDDA}" type="pres">
      <dgm:prSet presAssocID="{62B76224-1025-3D49-8B9A-CC6EB395A07F}" presName="iconRect" presStyleLbl="node1" presStyleIdx="5" presStyleCnt="6"/>
      <dgm:spPr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est tubes with solid fill"/>
        </a:ext>
      </dgm:extLst>
    </dgm:pt>
    <dgm:pt modelId="{D1FA8FDC-5A7D-5F48-99E9-2953E5062844}" type="pres">
      <dgm:prSet presAssocID="{62B76224-1025-3D49-8B9A-CC6EB395A07F}" presName="spaceRect" presStyleCnt="0"/>
      <dgm:spPr/>
    </dgm:pt>
    <dgm:pt modelId="{7878AE0B-B1AD-ED4F-84ED-6CA895FE53E6}" type="pres">
      <dgm:prSet presAssocID="{62B76224-1025-3D49-8B9A-CC6EB395A07F}" presName="parTx" presStyleLbl="revTx" presStyleIdx="5" presStyleCnt="6">
        <dgm:presLayoutVars>
          <dgm:chMax val="0"/>
          <dgm:chPref val="0"/>
        </dgm:presLayoutVars>
      </dgm:prSet>
      <dgm:spPr/>
    </dgm:pt>
  </dgm:ptLst>
  <dgm:cxnLst>
    <dgm:cxn modelId="{E855C301-9E0B-4BC9-81B5-819CDB5CE8A9}" type="presOf" srcId="{28F87831-9F73-46E8-A899-A5D1E6C0F8FA}" destId="{B892899B-6826-4880-BD30-CE5A016393F8}" srcOrd="0" destOrd="0" presId="urn:microsoft.com/office/officeart/2018/2/layout/IconVerticalSolidList"/>
    <dgm:cxn modelId="{7C12BF11-A3CF-A846-B6FC-C3DEFBD88FF3}" srcId="{B6284740-5D9C-4CB9-A80E-2256237ED06D}" destId="{395476C8-058D-B342-AE8B-C26B3411C43E}" srcOrd="2" destOrd="0" parTransId="{D714D613-3B03-C342-AB9E-D656FA43594A}" sibTransId="{07FF3CD5-B519-FC42-B8B2-7373C1F695C7}"/>
    <dgm:cxn modelId="{262DDE11-63E7-5541-B089-8C15F58EAD4B}" type="presOf" srcId="{395476C8-058D-B342-AE8B-C26B3411C43E}" destId="{1464BE0B-40F6-8D46-B696-2F043B63C4F9}" srcOrd="0" destOrd="0" presId="urn:microsoft.com/office/officeart/2018/2/layout/IconVerticalSolidList"/>
    <dgm:cxn modelId="{BEC13916-4482-4AEB-A068-B3F2F650AD53}" type="presOf" srcId="{B6284740-5D9C-4CB9-A80E-2256237ED06D}" destId="{8893DF99-431C-4F42-B88C-FBDB9433E11B}" srcOrd="0" destOrd="0" presId="urn:microsoft.com/office/officeart/2018/2/layout/IconVerticalSolidList"/>
    <dgm:cxn modelId="{208B595E-7C7D-5F46-B28A-9D74F9EAD971}" srcId="{B6284740-5D9C-4CB9-A80E-2256237ED06D}" destId="{A4FC7F5C-CD47-584E-913A-DEA7812FCF8C}" srcOrd="4" destOrd="0" parTransId="{F647AC8F-EB90-704A-946F-D78FF39D3EA2}" sibTransId="{8BC41209-98D1-3C4F-8983-A777A14D822E}"/>
    <dgm:cxn modelId="{557EA95E-A05C-7A4E-ABF6-A7B15CE98D49}" srcId="{B6284740-5D9C-4CB9-A80E-2256237ED06D}" destId="{CA6C56D4-40A3-0C4B-A36E-9453E3092583}" srcOrd="3" destOrd="0" parTransId="{9E533490-09B5-2C45-A8D8-8A74DADBDBDD}" sibTransId="{6F72DD59-9D86-E548-B25B-C25931B212B2}"/>
    <dgm:cxn modelId="{28884460-5282-9A49-A89D-60E656EEA658}" type="presOf" srcId="{CA6C56D4-40A3-0C4B-A36E-9453E3092583}" destId="{E439FD84-2DF6-2B48-9EC9-760552FA8F7A}" srcOrd="0" destOrd="0" presId="urn:microsoft.com/office/officeart/2018/2/layout/IconVerticalSolidList"/>
    <dgm:cxn modelId="{86B4484C-0AA8-4716-A92A-F7150B65D707}" srcId="{B6284740-5D9C-4CB9-A80E-2256237ED06D}" destId="{28F87831-9F73-46E8-A899-A5D1E6C0F8FA}" srcOrd="0" destOrd="0" parTransId="{F43C922A-9C74-4D84-A092-25CEACF6A797}" sibTransId="{30D904F6-9EF5-441E-B6D8-BA6920103DF1}"/>
    <dgm:cxn modelId="{6463544D-DC7D-5546-B025-4C0312076A1D}" srcId="{B6284740-5D9C-4CB9-A80E-2256237ED06D}" destId="{F759548A-8F23-1148-AB3A-36BE65169F3A}" srcOrd="1" destOrd="0" parTransId="{6058C71F-83E7-9746-ABA1-A5F97FC10CD0}" sibTransId="{D5DCEAAD-B9B1-624E-8FD1-4E3FB2A553F9}"/>
    <dgm:cxn modelId="{605C8B7E-1DB7-EC40-AB98-9EC611CF016D}" srcId="{B6284740-5D9C-4CB9-A80E-2256237ED06D}" destId="{62B76224-1025-3D49-8B9A-CC6EB395A07F}" srcOrd="5" destOrd="0" parTransId="{FF94AACC-E2D4-7243-932A-27611F661904}" sibTransId="{917A66DE-2F75-CE44-9250-E319B2E467E5}"/>
    <dgm:cxn modelId="{533A1E89-FA43-DB47-BB8A-E902CA49EDC2}" type="presOf" srcId="{A4FC7F5C-CD47-584E-913A-DEA7812FCF8C}" destId="{D3EE60BA-FF61-404F-A1E3-0F4CED78D285}" srcOrd="0" destOrd="0" presId="urn:microsoft.com/office/officeart/2018/2/layout/IconVerticalSolidList"/>
    <dgm:cxn modelId="{E71E7498-EA44-0647-BF4F-2885F8B69787}" type="presOf" srcId="{62B76224-1025-3D49-8B9A-CC6EB395A07F}" destId="{7878AE0B-B1AD-ED4F-84ED-6CA895FE53E6}" srcOrd="0" destOrd="0" presId="urn:microsoft.com/office/officeart/2018/2/layout/IconVerticalSolidList"/>
    <dgm:cxn modelId="{66B313E5-1E14-7748-B23A-DF17363DC6E8}" type="presOf" srcId="{F759548A-8F23-1148-AB3A-36BE65169F3A}" destId="{79082CCF-919A-1445-A443-34F82F2607F2}" srcOrd="0" destOrd="0" presId="urn:microsoft.com/office/officeart/2018/2/layout/IconVerticalSolidList"/>
    <dgm:cxn modelId="{CA71A53F-0927-4917-877E-5186ED4F5047}" type="presParOf" srcId="{8893DF99-431C-4F42-B88C-FBDB9433E11B}" destId="{97595F3B-CF39-40B6-9001-4E74048254AD}" srcOrd="0" destOrd="0" presId="urn:microsoft.com/office/officeart/2018/2/layout/IconVerticalSolidList"/>
    <dgm:cxn modelId="{713EFADD-C635-4B74-92FC-6000B94AC2B5}" type="presParOf" srcId="{97595F3B-CF39-40B6-9001-4E74048254AD}" destId="{AB20D592-C47D-480E-9FCE-0B6AA553978A}" srcOrd="0" destOrd="0" presId="urn:microsoft.com/office/officeart/2018/2/layout/IconVerticalSolidList"/>
    <dgm:cxn modelId="{3A31F705-91E3-4791-8181-FA0F4D4B3DC9}" type="presParOf" srcId="{97595F3B-CF39-40B6-9001-4E74048254AD}" destId="{0F544F2F-7B63-4213-B3D8-8A7273281936}" srcOrd="1" destOrd="0" presId="urn:microsoft.com/office/officeart/2018/2/layout/IconVerticalSolidList"/>
    <dgm:cxn modelId="{66574733-CF17-41E3-863C-6136ACA76BFE}" type="presParOf" srcId="{97595F3B-CF39-40B6-9001-4E74048254AD}" destId="{B7868FB5-B477-43DE-AEEC-49C6AC93569A}" srcOrd="2" destOrd="0" presId="urn:microsoft.com/office/officeart/2018/2/layout/IconVerticalSolidList"/>
    <dgm:cxn modelId="{4CC15D3B-8368-4174-A33B-C215C5B57C45}" type="presParOf" srcId="{97595F3B-CF39-40B6-9001-4E74048254AD}" destId="{B892899B-6826-4880-BD30-CE5A016393F8}" srcOrd="3" destOrd="0" presId="urn:microsoft.com/office/officeart/2018/2/layout/IconVerticalSolidList"/>
    <dgm:cxn modelId="{0889860B-24A7-E04B-9D94-720319C058F5}" type="presParOf" srcId="{8893DF99-431C-4F42-B88C-FBDB9433E11B}" destId="{A61A350C-5552-0D4B-A010-BE5C01E1B483}" srcOrd="1" destOrd="0" presId="urn:microsoft.com/office/officeart/2018/2/layout/IconVerticalSolidList"/>
    <dgm:cxn modelId="{D81D7851-D9E4-584D-9AFD-C1C3C008353E}" type="presParOf" srcId="{8893DF99-431C-4F42-B88C-FBDB9433E11B}" destId="{8713B450-C2A7-6A45-BEC3-0DB65ED59762}" srcOrd="2" destOrd="0" presId="urn:microsoft.com/office/officeart/2018/2/layout/IconVerticalSolidList"/>
    <dgm:cxn modelId="{3B4BC3EA-F49C-A24A-9672-D06C39789F6B}" type="presParOf" srcId="{8713B450-C2A7-6A45-BEC3-0DB65ED59762}" destId="{4CDB3BC9-94A8-1942-A0D7-A6C018FBD8C0}" srcOrd="0" destOrd="0" presId="urn:microsoft.com/office/officeart/2018/2/layout/IconVerticalSolidList"/>
    <dgm:cxn modelId="{A0FC783B-02B5-CD40-92EA-A8E437E6D478}" type="presParOf" srcId="{8713B450-C2A7-6A45-BEC3-0DB65ED59762}" destId="{78F5EC67-82DB-3A47-BE47-F2ADC99F3A08}" srcOrd="1" destOrd="0" presId="urn:microsoft.com/office/officeart/2018/2/layout/IconVerticalSolidList"/>
    <dgm:cxn modelId="{346D7E78-BD4C-CB44-9BCE-603D83E44D20}" type="presParOf" srcId="{8713B450-C2A7-6A45-BEC3-0DB65ED59762}" destId="{ACD68306-3564-7F41-81F8-9F5A1B51C1C5}" srcOrd="2" destOrd="0" presId="urn:microsoft.com/office/officeart/2018/2/layout/IconVerticalSolidList"/>
    <dgm:cxn modelId="{8C3106E3-645A-7446-B842-4CA99BFB9C06}" type="presParOf" srcId="{8713B450-C2A7-6A45-BEC3-0DB65ED59762}" destId="{79082CCF-919A-1445-A443-34F82F2607F2}" srcOrd="3" destOrd="0" presId="urn:microsoft.com/office/officeart/2018/2/layout/IconVerticalSolidList"/>
    <dgm:cxn modelId="{D3015065-0F24-0349-9B89-B2DE919390F9}" type="presParOf" srcId="{8893DF99-431C-4F42-B88C-FBDB9433E11B}" destId="{744771DB-2C81-0545-BEFB-6DB44248FD2A}" srcOrd="3" destOrd="0" presId="urn:microsoft.com/office/officeart/2018/2/layout/IconVerticalSolidList"/>
    <dgm:cxn modelId="{A54E426C-28D0-1848-8094-4245A5EF5E2C}" type="presParOf" srcId="{8893DF99-431C-4F42-B88C-FBDB9433E11B}" destId="{DBCFCFB7-CF67-1B44-ADA5-DA4864527DFE}" srcOrd="4" destOrd="0" presId="urn:microsoft.com/office/officeart/2018/2/layout/IconVerticalSolidList"/>
    <dgm:cxn modelId="{652E5EEF-C13C-3145-AA2F-9B883F73A899}" type="presParOf" srcId="{DBCFCFB7-CF67-1B44-ADA5-DA4864527DFE}" destId="{B4969633-86E4-AB41-BEEF-CAF2378C4FFC}" srcOrd="0" destOrd="0" presId="urn:microsoft.com/office/officeart/2018/2/layout/IconVerticalSolidList"/>
    <dgm:cxn modelId="{592E3963-8BEC-8745-A587-F231F516EF5F}" type="presParOf" srcId="{DBCFCFB7-CF67-1B44-ADA5-DA4864527DFE}" destId="{BAA21375-639A-3F41-8793-387ACBF9EA6B}" srcOrd="1" destOrd="0" presId="urn:microsoft.com/office/officeart/2018/2/layout/IconVerticalSolidList"/>
    <dgm:cxn modelId="{87E90766-97C5-AA43-897B-0A8921A65315}" type="presParOf" srcId="{DBCFCFB7-CF67-1B44-ADA5-DA4864527DFE}" destId="{BB9D1799-7EFD-844C-8F8B-B1965F798118}" srcOrd="2" destOrd="0" presId="urn:microsoft.com/office/officeart/2018/2/layout/IconVerticalSolidList"/>
    <dgm:cxn modelId="{515EA71F-9738-4147-A166-1B62D830CA1E}" type="presParOf" srcId="{DBCFCFB7-CF67-1B44-ADA5-DA4864527DFE}" destId="{1464BE0B-40F6-8D46-B696-2F043B63C4F9}" srcOrd="3" destOrd="0" presId="urn:microsoft.com/office/officeart/2018/2/layout/IconVerticalSolidList"/>
    <dgm:cxn modelId="{AEDFB38D-6260-2D4D-8834-D8A4AC31CBB6}" type="presParOf" srcId="{8893DF99-431C-4F42-B88C-FBDB9433E11B}" destId="{A2FB444D-6529-1C4C-B773-4BCC87E0C34A}" srcOrd="5" destOrd="0" presId="urn:microsoft.com/office/officeart/2018/2/layout/IconVerticalSolidList"/>
    <dgm:cxn modelId="{FC1834C0-AC65-C448-973D-FB8327039C97}" type="presParOf" srcId="{8893DF99-431C-4F42-B88C-FBDB9433E11B}" destId="{00D43745-CFFC-E741-8809-AAAC66A54311}" srcOrd="6" destOrd="0" presId="urn:microsoft.com/office/officeart/2018/2/layout/IconVerticalSolidList"/>
    <dgm:cxn modelId="{DA2100CB-ADE2-024C-AAC2-A04548D8B616}" type="presParOf" srcId="{00D43745-CFFC-E741-8809-AAAC66A54311}" destId="{9BEC0F33-85C8-F249-8219-2A26EF3935D7}" srcOrd="0" destOrd="0" presId="urn:microsoft.com/office/officeart/2018/2/layout/IconVerticalSolidList"/>
    <dgm:cxn modelId="{1540D07D-37DD-AF4B-8E73-21D0B6B27ED1}" type="presParOf" srcId="{00D43745-CFFC-E741-8809-AAAC66A54311}" destId="{66DDA7D1-85F3-464F-A13A-715D7A05735B}" srcOrd="1" destOrd="0" presId="urn:microsoft.com/office/officeart/2018/2/layout/IconVerticalSolidList"/>
    <dgm:cxn modelId="{5547BA3F-25F9-9E46-BEC4-8F2272299915}" type="presParOf" srcId="{00D43745-CFFC-E741-8809-AAAC66A54311}" destId="{38E8B4E4-9D44-D240-B3DA-EF2CBFF967F2}" srcOrd="2" destOrd="0" presId="urn:microsoft.com/office/officeart/2018/2/layout/IconVerticalSolidList"/>
    <dgm:cxn modelId="{2226CD36-BE27-DD43-8E1F-BC466698FD97}" type="presParOf" srcId="{00D43745-CFFC-E741-8809-AAAC66A54311}" destId="{E439FD84-2DF6-2B48-9EC9-760552FA8F7A}" srcOrd="3" destOrd="0" presId="urn:microsoft.com/office/officeart/2018/2/layout/IconVerticalSolidList"/>
    <dgm:cxn modelId="{BCCD91D9-3CE6-5A46-8822-4C13F8D516C8}" type="presParOf" srcId="{8893DF99-431C-4F42-B88C-FBDB9433E11B}" destId="{16BB8B05-5407-8F42-B70B-627579B87B0A}" srcOrd="7" destOrd="0" presId="urn:microsoft.com/office/officeart/2018/2/layout/IconVerticalSolidList"/>
    <dgm:cxn modelId="{AA2330F6-E73A-C444-92A0-D87E607F404B}" type="presParOf" srcId="{8893DF99-431C-4F42-B88C-FBDB9433E11B}" destId="{499F2DEE-5224-F448-A613-2D1C4254C074}" srcOrd="8" destOrd="0" presId="urn:microsoft.com/office/officeart/2018/2/layout/IconVerticalSolidList"/>
    <dgm:cxn modelId="{3B4F49B0-B20D-0449-967C-DFBAA296ABD8}" type="presParOf" srcId="{499F2DEE-5224-F448-A613-2D1C4254C074}" destId="{DEBA26BF-3BEB-0B4C-9FF0-E194176C0F71}" srcOrd="0" destOrd="0" presId="urn:microsoft.com/office/officeart/2018/2/layout/IconVerticalSolidList"/>
    <dgm:cxn modelId="{846FE7C0-A3BC-4041-8A90-A38D76D57EB1}" type="presParOf" srcId="{499F2DEE-5224-F448-A613-2D1C4254C074}" destId="{A7BA3752-C53F-CC4D-9971-45D05F271C60}" srcOrd="1" destOrd="0" presId="urn:microsoft.com/office/officeart/2018/2/layout/IconVerticalSolidList"/>
    <dgm:cxn modelId="{BC91E1C7-47AC-824C-8A7B-91656B5AB677}" type="presParOf" srcId="{499F2DEE-5224-F448-A613-2D1C4254C074}" destId="{9EC82767-128E-244F-973F-7FEC0A67F6CE}" srcOrd="2" destOrd="0" presId="urn:microsoft.com/office/officeart/2018/2/layout/IconVerticalSolidList"/>
    <dgm:cxn modelId="{48E6D71D-112A-0045-BCA3-34AAB58C98C2}" type="presParOf" srcId="{499F2DEE-5224-F448-A613-2D1C4254C074}" destId="{D3EE60BA-FF61-404F-A1E3-0F4CED78D285}" srcOrd="3" destOrd="0" presId="urn:microsoft.com/office/officeart/2018/2/layout/IconVerticalSolidList"/>
    <dgm:cxn modelId="{62162735-2A82-014F-B18B-72A7ED8784F5}" type="presParOf" srcId="{8893DF99-431C-4F42-B88C-FBDB9433E11B}" destId="{57DD7F64-F539-EC4A-97C3-263E4B45C64A}" srcOrd="9" destOrd="0" presId="urn:microsoft.com/office/officeart/2018/2/layout/IconVerticalSolidList"/>
    <dgm:cxn modelId="{396B7C12-5F08-FB40-8202-46C8EC687236}" type="presParOf" srcId="{8893DF99-431C-4F42-B88C-FBDB9433E11B}" destId="{2EB44B44-F736-014E-B8FB-A7299B6A236E}" srcOrd="10" destOrd="0" presId="urn:microsoft.com/office/officeart/2018/2/layout/IconVerticalSolidList"/>
    <dgm:cxn modelId="{CA98D955-3CC9-C245-81E1-5423CC3851DB}" type="presParOf" srcId="{2EB44B44-F736-014E-B8FB-A7299B6A236E}" destId="{A4D0A183-46B9-9346-94F0-9738B4929113}" srcOrd="0" destOrd="0" presId="urn:microsoft.com/office/officeart/2018/2/layout/IconVerticalSolidList"/>
    <dgm:cxn modelId="{522E35B8-5B50-A946-8CB9-8E00A63261D0}" type="presParOf" srcId="{2EB44B44-F736-014E-B8FB-A7299B6A236E}" destId="{88313EBB-02AE-F348-BDDE-07C72027FDDA}" srcOrd="1" destOrd="0" presId="urn:microsoft.com/office/officeart/2018/2/layout/IconVerticalSolidList"/>
    <dgm:cxn modelId="{37B490A7-5714-D343-B71E-A2B7AC00F99D}" type="presParOf" srcId="{2EB44B44-F736-014E-B8FB-A7299B6A236E}" destId="{D1FA8FDC-5A7D-5F48-99E9-2953E5062844}" srcOrd="2" destOrd="0" presId="urn:microsoft.com/office/officeart/2018/2/layout/IconVerticalSolidList"/>
    <dgm:cxn modelId="{9A860CF1-FD77-3E4D-8919-714008E4CEBD}" type="presParOf" srcId="{2EB44B44-F736-014E-B8FB-A7299B6A236E}" destId="{7878AE0B-B1AD-ED4F-84ED-6CA895FE53E6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6284740-5D9C-4CB9-A80E-2256237ED06D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28F87831-9F73-46E8-A899-A5D1E6C0F8FA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 baseline="0">
              <a:latin typeface="Segoe UI Light" panose="020B0502040204020203" pitchFamily="34" charset="0"/>
            </a:rPr>
            <a:t>Create from blank</a:t>
          </a:r>
          <a:endParaRPr lang="en-US" b="0" i="0">
            <a:latin typeface="Segoe UI Light" panose="020B0502040204020203" pitchFamily="34" charset="0"/>
          </a:endParaRPr>
        </a:p>
      </dgm:t>
    </dgm:pt>
    <dgm:pt modelId="{F43C922A-9C74-4D84-A092-25CEACF6A797}" type="parTrans" cxnId="{86B4484C-0AA8-4716-A92A-F7150B65D707}">
      <dgm:prSet/>
      <dgm:spPr/>
      <dgm:t>
        <a:bodyPr/>
        <a:lstStyle/>
        <a:p>
          <a:endParaRPr lang="en-US"/>
        </a:p>
      </dgm:t>
    </dgm:pt>
    <dgm:pt modelId="{30D904F6-9EF5-441E-B6D8-BA6920103DF1}" type="sibTrans" cxnId="{86B4484C-0AA8-4716-A92A-F7150B65D707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F759548A-8F23-1148-AB3A-36BE65169F3A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>
              <a:latin typeface="Segoe UI Light" panose="020B0502040204020203" pitchFamily="34" charset="0"/>
            </a:rPr>
            <a:t>Create from Azure Service (Preview)</a:t>
          </a:r>
        </a:p>
      </dgm:t>
    </dgm:pt>
    <dgm:pt modelId="{6058C71F-83E7-9746-ABA1-A5F97FC10CD0}" type="parTrans" cxnId="{6463544D-DC7D-5546-B025-4C0312076A1D}">
      <dgm:prSet/>
      <dgm:spPr/>
      <dgm:t>
        <a:bodyPr/>
        <a:lstStyle/>
        <a:p>
          <a:endParaRPr lang="en-GB"/>
        </a:p>
      </dgm:t>
    </dgm:pt>
    <dgm:pt modelId="{D5DCEAAD-B9B1-624E-8FD1-4E3FB2A553F9}" type="sibTrans" cxnId="{6463544D-DC7D-5546-B025-4C0312076A1D}">
      <dgm:prSet/>
      <dgm:spPr/>
      <dgm:t>
        <a:bodyPr/>
        <a:lstStyle/>
        <a:p>
          <a:endParaRPr lang="en-GB"/>
        </a:p>
      </dgm:t>
    </dgm:pt>
    <dgm:pt modelId="{395476C8-058D-B342-AE8B-C26B3411C43E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>
              <a:latin typeface="Segoe UI Light" panose="020B0502040204020203" pitchFamily="34" charset="0"/>
            </a:rPr>
            <a:t>Import an </a:t>
          </a:r>
          <a:r>
            <a:rPr lang="en-US" b="0" i="0" err="1">
              <a:latin typeface="Segoe UI Light" panose="020B0502040204020203" pitchFamily="34" charset="0"/>
            </a:rPr>
            <a:t>OpenAPI</a:t>
          </a:r>
          <a:r>
            <a:rPr lang="en-US" b="0" i="0">
              <a:latin typeface="Segoe UI Light" panose="020B0502040204020203" pitchFamily="34" charset="0"/>
            </a:rPr>
            <a:t> file</a:t>
          </a:r>
        </a:p>
      </dgm:t>
    </dgm:pt>
    <dgm:pt modelId="{D714D613-3B03-C342-AB9E-D656FA43594A}" type="parTrans" cxnId="{7C12BF11-A3CF-A846-B6FC-C3DEFBD88FF3}">
      <dgm:prSet/>
      <dgm:spPr/>
      <dgm:t>
        <a:bodyPr/>
        <a:lstStyle/>
        <a:p>
          <a:endParaRPr lang="en-GB"/>
        </a:p>
      </dgm:t>
    </dgm:pt>
    <dgm:pt modelId="{07FF3CD5-B519-FC42-B8B2-7373C1F695C7}" type="sibTrans" cxnId="{7C12BF11-A3CF-A846-B6FC-C3DEFBD88FF3}">
      <dgm:prSet/>
      <dgm:spPr/>
      <dgm:t>
        <a:bodyPr/>
        <a:lstStyle/>
        <a:p>
          <a:endParaRPr lang="en-GB"/>
        </a:p>
      </dgm:t>
    </dgm:pt>
    <dgm:pt modelId="{CA6C56D4-40A3-0C4B-A36E-9453E3092583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>
              <a:latin typeface="Segoe UI Light" panose="020B0502040204020203" pitchFamily="34" charset="0"/>
            </a:rPr>
            <a:t>Import an </a:t>
          </a:r>
          <a:r>
            <a:rPr lang="en-US" b="0" i="0" err="1">
              <a:latin typeface="Segoe UI Light" panose="020B0502040204020203" pitchFamily="34" charset="0"/>
            </a:rPr>
            <a:t>OpenAPI</a:t>
          </a:r>
          <a:r>
            <a:rPr lang="en-US" b="0" i="0">
              <a:latin typeface="Segoe UI Light" panose="020B0502040204020203" pitchFamily="34" charset="0"/>
            </a:rPr>
            <a:t> from URL</a:t>
          </a:r>
        </a:p>
      </dgm:t>
    </dgm:pt>
    <dgm:pt modelId="{9E533490-09B5-2C45-A8D8-8A74DADBDBDD}" type="parTrans" cxnId="{557EA95E-A05C-7A4E-ABF6-A7B15CE98D49}">
      <dgm:prSet/>
      <dgm:spPr/>
      <dgm:t>
        <a:bodyPr/>
        <a:lstStyle/>
        <a:p>
          <a:endParaRPr lang="en-GB"/>
        </a:p>
      </dgm:t>
    </dgm:pt>
    <dgm:pt modelId="{6F72DD59-9D86-E548-B25B-C25931B212B2}" type="sibTrans" cxnId="{557EA95E-A05C-7A4E-ABF6-A7B15CE98D49}">
      <dgm:prSet/>
      <dgm:spPr/>
      <dgm:t>
        <a:bodyPr/>
        <a:lstStyle/>
        <a:p>
          <a:endParaRPr lang="en-GB"/>
        </a:p>
      </dgm:t>
    </dgm:pt>
    <dgm:pt modelId="{A4FC7F5C-CD47-584E-913A-DEA7812FCF8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>
              <a:latin typeface="Segoe UI Light" panose="020B0502040204020203" pitchFamily="34" charset="0"/>
            </a:rPr>
            <a:t>Import a Postman collection</a:t>
          </a:r>
        </a:p>
      </dgm:t>
    </dgm:pt>
    <dgm:pt modelId="{F647AC8F-EB90-704A-946F-D78FF39D3EA2}" type="parTrans" cxnId="{208B595E-7C7D-5F46-B28A-9D74F9EAD971}">
      <dgm:prSet/>
      <dgm:spPr/>
      <dgm:t>
        <a:bodyPr/>
        <a:lstStyle/>
        <a:p>
          <a:endParaRPr lang="en-GB"/>
        </a:p>
      </dgm:t>
    </dgm:pt>
    <dgm:pt modelId="{8BC41209-98D1-3C4F-8983-A777A14D822E}" type="sibTrans" cxnId="{208B595E-7C7D-5F46-B28A-9D74F9EAD971}">
      <dgm:prSet/>
      <dgm:spPr/>
      <dgm:t>
        <a:bodyPr/>
        <a:lstStyle/>
        <a:p>
          <a:endParaRPr lang="en-GB"/>
        </a:p>
      </dgm:t>
    </dgm:pt>
    <dgm:pt modelId="{62B76224-1025-3D49-8B9A-CC6EB395A07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>
              <a:latin typeface="Segoe UI Light" panose="020B0502040204020203" pitchFamily="34" charset="0"/>
            </a:rPr>
            <a:t>Import from GitHub</a:t>
          </a:r>
        </a:p>
      </dgm:t>
    </dgm:pt>
    <dgm:pt modelId="{FF94AACC-E2D4-7243-932A-27611F661904}" type="parTrans" cxnId="{605C8B7E-1DB7-EC40-AB98-9EC611CF016D}">
      <dgm:prSet/>
      <dgm:spPr/>
      <dgm:t>
        <a:bodyPr/>
        <a:lstStyle/>
        <a:p>
          <a:endParaRPr lang="en-GB"/>
        </a:p>
      </dgm:t>
    </dgm:pt>
    <dgm:pt modelId="{917A66DE-2F75-CE44-9250-E319B2E467E5}" type="sibTrans" cxnId="{605C8B7E-1DB7-EC40-AB98-9EC611CF016D}">
      <dgm:prSet/>
      <dgm:spPr/>
      <dgm:t>
        <a:bodyPr/>
        <a:lstStyle/>
        <a:p>
          <a:endParaRPr lang="en-GB"/>
        </a:p>
      </dgm:t>
    </dgm:pt>
    <dgm:pt modelId="{8893DF99-431C-4F42-B88C-FBDB9433E11B}" type="pres">
      <dgm:prSet presAssocID="{B6284740-5D9C-4CB9-A80E-2256237ED06D}" presName="root" presStyleCnt="0">
        <dgm:presLayoutVars>
          <dgm:dir/>
          <dgm:resizeHandles val="exact"/>
        </dgm:presLayoutVars>
      </dgm:prSet>
      <dgm:spPr/>
    </dgm:pt>
    <dgm:pt modelId="{97595F3B-CF39-40B6-9001-4E74048254AD}" type="pres">
      <dgm:prSet presAssocID="{28F87831-9F73-46E8-A899-A5D1E6C0F8FA}" presName="compNode" presStyleCnt="0"/>
      <dgm:spPr/>
    </dgm:pt>
    <dgm:pt modelId="{AB20D592-C47D-480E-9FCE-0B6AA553978A}" type="pres">
      <dgm:prSet presAssocID="{28F87831-9F73-46E8-A899-A5D1E6C0F8FA}" presName="bgRect" presStyleLbl="bgShp" presStyleIdx="0" presStyleCnt="6"/>
      <dgm:spPr>
        <a:solidFill>
          <a:schemeClr val="bg2"/>
        </a:solidFill>
      </dgm:spPr>
    </dgm:pt>
    <dgm:pt modelId="{0F544F2F-7B63-4213-B3D8-8A7273281936}" type="pres">
      <dgm:prSet presAssocID="{28F87831-9F73-46E8-A899-A5D1E6C0F8FA}" presName="iconRect" presStyleLbl="nod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New with solid fill"/>
        </a:ext>
      </dgm:extLst>
    </dgm:pt>
    <dgm:pt modelId="{B7868FB5-B477-43DE-AEEC-49C6AC93569A}" type="pres">
      <dgm:prSet presAssocID="{28F87831-9F73-46E8-A899-A5D1E6C0F8FA}" presName="spaceRect" presStyleCnt="0"/>
      <dgm:spPr/>
    </dgm:pt>
    <dgm:pt modelId="{B892899B-6826-4880-BD30-CE5A016393F8}" type="pres">
      <dgm:prSet presAssocID="{28F87831-9F73-46E8-A899-A5D1E6C0F8FA}" presName="parTx" presStyleLbl="revTx" presStyleIdx="0" presStyleCnt="6">
        <dgm:presLayoutVars>
          <dgm:chMax val="0"/>
          <dgm:chPref val="0"/>
        </dgm:presLayoutVars>
      </dgm:prSet>
      <dgm:spPr/>
    </dgm:pt>
    <dgm:pt modelId="{A61A350C-5552-0D4B-A010-BE5C01E1B483}" type="pres">
      <dgm:prSet presAssocID="{30D904F6-9EF5-441E-B6D8-BA6920103DF1}" presName="sibTrans" presStyleCnt="0"/>
      <dgm:spPr/>
    </dgm:pt>
    <dgm:pt modelId="{8713B450-C2A7-6A45-BEC3-0DB65ED59762}" type="pres">
      <dgm:prSet presAssocID="{F759548A-8F23-1148-AB3A-36BE65169F3A}" presName="compNode" presStyleCnt="0"/>
      <dgm:spPr/>
    </dgm:pt>
    <dgm:pt modelId="{4CDB3BC9-94A8-1942-A0D7-A6C018FBD8C0}" type="pres">
      <dgm:prSet presAssocID="{F759548A-8F23-1148-AB3A-36BE65169F3A}" presName="bgRect" presStyleLbl="bgShp" presStyleIdx="1" presStyleCnt="6"/>
      <dgm:spPr>
        <a:solidFill>
          <a:schemeClr val="bg2"/>
        </a:solidFill>
      </dgm:spPr>
    </dgm:pt>
    <dgm:pt modelId="{78F5EC67-82DB-3A47-BE47-F2ADC99F3A08}" type="pres">
      <dgm:prSet presAssocID="{F759548A-8F23-1148-AB3A-36BE65169F3A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Rocket with solid fill"/>
        </a:ext>
      </dgm:extLst>
    </dgm:pt>
    <dgm:pt modelId="{ACD68306-3564-7F41-81F8-9F5A1B51C1C5}" type="pres">
      <dgm:prSet presAssocID="{F759548A-8F23-1148-AB3A-36BE65169F3A}" presName="spaceRect" presStyleCnt="0"/>
      <dgm:spPr/>
    </dgm:pt>
    <dgm:pt modelId="{79082CCF-919A-1445-A443-34F82F2607F2}" type="pres">
      <dgm:prSet presAssocID="{F759548A-8F23-1148-AB3A-36BE65169F3A}" presName="parTx" presStyleLbl="revTx" presStyleIdx="1" presStyleCnt="6">
        <dgm:presLayoutVars>
          <dgm:chMax val="0"/>
          <dgm:chPref val="0"/>
        </dgm:presLayoutVars>
      </dgm:prSet>
      <dgm:spPr/>
    </dgm:pt>
    <dgm:pt modelId="{744771DB-2C81-0545-BEFB-6DB44248FD2A}" type="pres">
      <dgm:prSet presAssocID="{D5DCEAAD-B9B1-624E-8FD1-4E3FB2A553F9}" presName="sibTrans" presStyleCnt="0"/>
      <dgm:spPr/>
    </dgm:pt>
    <dgm:pt modelId="{DBCFCFB7-CF67-1B44-ADA5-DA4864527DFE}" type="pres">
      <dgm:prSet presAssocID="{395476C8-058D-B342-AE8B-C26B3411C43E}" presName="compNode" presStyleCnt="0"/>
      <dgm:spPr/>
    </dgm:pt>
    <dgm:pt modelId="{B4969633-86E4-AB41-BEEF-CAF2378C4FFC}" type="pres">
      <dgm:prSet presAssocID="{395476C8-058D-B342-AE8B-C26B3411C43E}" presName="bgRect" presStyleLbl="bgShp" presStyleIdx="2" presStyleCnt="6"/>
      <dgm:spPr>
        <a:solidFill>
          <a:schemeClr val="bg2"/>
        </a:solidFill>
      </dgm:spPr>
    </dgm:pt>
    <dgm:pt modelId="{BAA21375-639A-3F41-8793-387ACBF9EA6B}" type="pres">
      <dgm:prSet presAssocID="{395476C8-058D-B342-AE8B-C26B3411C43E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Arrow Down with solid fill"/>
        </a:ext>
      </dgm:extLst>
    </dgm:pt>
    <dgm:pt modelId="{BB9D1799-7EFD-844C-8F8B-B1965F798118}" type="pres">
      <dgm:prSet presAssocID="{395476C8-058D-B342-AE8B-C26B3411C43E}" presName="spaceRect" presStyleCnt="0"/>
      <dgm:spPr/>
    </dgm:pt>
    <dgm:pt modelId="{1464BE0B-40F6-8D46-B696-2F043B63C4F9}" type="pres">
      <dgm:prSet presAssocID="{395476C8-058D-B342-AE8B-C26B3411C43E}" presName="parTx" presStyleLbl="revTx" presStyleIdx="2" presStyleCnt="6">
        <dgm:presLayoutVars>
          <dgm:chMax val="0"/>
          <dgm:chPref val="0"/>
        </dgm:presLayoutVars>
      </dgm:prSet>
      <dgm:spPr/>
    </dgm:pt>
    <dgm:pt modelId="{A2FB444D-6529-1C4C-B773-4BCC87E0C34A}" type="pres">
      <dgm:prSet presAssocID="{07FF3CD5-B519-FC42-B8B2-7373C1F695C7}" presName="sibTrans" presStyleCnt="0"/>
      <dgm:spPr/>
    </dgm:pt>
    <dgm:pt modelId="{00D43745-CFFC-E741-8809-AAAC66A54311}" type="pres">
      <dgm:prSet presAssocID="{CA6C56D4-40A3-0C4B-A36E-9453E3092583}" presName="compNode" presStyleCnt="0"/>
      <dgm:spPr/>
    </dgm:pt>
    <dgm:pt modelId="{9BEC0F33-85C8-F249-8219-2A26EF3935D7}" type="pres">
      <dgm:prSet presAssocID="{CA6C56D4-40A3-0C4B-A36E-9453E3092583}" presName="bgRect" presStyleLbl="bgShp" presStyleIdx="3" presStyleCnt="6"/>
      <dgm:spPr>
        <a:solidFill>
          <a:schemeClr val="bg2"/>
        </a:solidFill>
      </dgm:spPr>
    </dgm:pt>
    <dgm:pt modelId="{66DDA7D1-85F3-464F-A13A-715D7A05735B}" type="pres">
      <dgm:prSet presAssocID="{CA6C56D4-40A3-0C4B-A36E-9453E3092583}" presName="iconRect" presStyleLbl="node1" presStyleIdx="3" presStyleCnt="6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Internet with solid fill"/>
        </a:ext>
      </dgm:extLst>
    </dgm:pt>
    <dgm:pt modelId="{38E8B4E4-9D44-D240-B3DA-EF2CBFF967F2}" type="pres">
      <dgm:prSet presAssocID="{CA6C56D4-40A3-0C4B-A36E-9453E3092583}" presName="spaceRect" presStyleCnt="0"/>
      <dgm:spPr/>
    </dgm:pt>
    <dgm:pt modelId="{E439FD84-2DF6-2B48-9EC9-760552FA8F7A}" type="pres">
      <dgm:prSet presAssocID="{CA6C56D4-40A3-0C4B-A36E-9453E3092583}" presName="parTx" presStyleLbl="revTx" presStyleIdx="3" presStyleCnt="6">
        <dgm:presLayoutVars>
          <dgm:chMax val="0"/>
          <dgm:chPref val="0"/>
        </dgm:presLayoutVars>
      </dgm:prSet>
      <dgm:spPr/>
    </dgm:pt>
    <dgm:pt modelId="{16BB8B05-5407-8F42-B70B-627579B87B0A}" type="pres">
      <dgm:prSet presAssocID="{6F72DD59-9D86-E548-B25B-C25931B212B2}" presName="sibTrans" presStyleCnt="0"/>
      <dgm:spPr/>
    </dgm:pt>
    <dgm:pt modelId="{499F2DEE-5224-F448-A613-2D1C4254C074}" type="pres">
      <dgm:prSet presAssocID="{A4FC7F5C-CD47-584E-913A-DEA7812FCF8C}" presName="compNode" presStyleCnt="0"/>
      <dgm:spPr/>
    </dgm:pt>
    <dgm:pt modelId="{DEBA26BF-3BEB-0B4C-9FF0-E194176C0F71}" type="pres">
      <dgm:prSet presAssocID="{A4FC7F5C-CD47-584E-913A-DEA7812FCF8C}" presName="bgRect" presStyleLbl="bgShp" presStyleIdx="4" presStyleCnt="6"/>
      <dgm:spPr>
        <a:solidFill>
          <a:schemeClr val="bg2"/>
        </a:solidFill>
      </dgm:spPr>
    </dgm:pt>
    <dgm:pt modelId="{A7BA3752-C53F-CC4D-9971-45D05F271C60}" type="pres">
      <dgm:prSet presAssocID="{A4FC7F5C-CD47-584E-913A-DEA7812FCF8C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ailbox with solid fill"/>
        </a:ext>
      </dgm:extLst>
    </dgm:pt>
    <dgm:pt modelId="{9EC82767-128E-244F-973F-7FEC0A67F6CE}" type="pres">
      <dgm:prSet presAssocID="{A4FC7F5C-CD47-584E-913A-DEA7812FCF8C}" presName="spaceRect" presStyleCnt="0"/>
      <dgm:spPr/>
    </dgm:pt>
    <dgm:pt modelId="{D3EE60BA-FF61-404F-A1E3-0F4CED78D285}" type="pres">
      <dgm:prSet presAssocID="{A4FC7F5C-CD47-584E-913A-DEA7812FCF8C}" presName="parTx" presStyleLbl="revTx" presStyleIdx="4" presStyleCnt="6">
        <dgm:presLayoutVars>
          <dgm:chMax val="0"/>
          <dgm:chPref val="0"/>
        </dgm:presLayoutVars>
      </dgm:prSet>
      <dgm:spPr/>
    </dgm:pt>
    <dgm:pt modelId="{57DD7F64-F539-EC4A-97C3-263E4B45C64A}" type="pres">
      <dgm:prSet presAssocID="{8BC41209-98D1-3C4F-8983-A777A14D822E}" presName="sibTrans" presStyleCnt="0"/>
      <dgm:spPr/>
    </dgm:pt>
    <dgm:pt modelId="{2EB44B44-F736-014E-B8FB-A7299B6A236E}" type="pres">
      <dgm:prSet presAssocID="{62B76224-1025-3D49-8B9A-CC6EB395A07F}" presName="compNode" presStyleCnt="0"/>
      <dgm:spPr/>
    </dgm:pt>
    <dgm:pt modelId="{A4D0A183-46B9-9346-94F0-9738B4929113}" type="pres">
      <dgm:prSet presAssocID="{62B76224-1025-3D49-8B9A-CC6EB395A07F}" presName="bgRect" presStyleLbl="bgShp" presStyleIdx="5" presStyleCnt="6"/>
      <dgm:spPr>
        <a:solidFill>
          <a:schemeClr val="bg2"/>
        </a:solidFill>
      </dgm:spPr>
    </dgm:pt>
    <dgm:pt modelId="{88313EBB-02AE-F348-BDDE-07C72027FDDA}" type="pres">
      <dgm:prSet presAssocID="{62B76224-1025-3D49-8B9A-CC6EB395A07F}" presName="iconRect" presStyleLbl="node1" presStyleIdx="5" presStyleCnt="6"/>
      <dgm:spPr>
        <a:blipFill>
          <a:blip xmlns:r="http://schemas.openxmlformats.org/officeDocument/2006/relationships" r:embed="rId11"/>
          <a:srcRect/>
          <a:stretch>
            <a:fillRect/>
          </a:stretch>
        </a:blipFill>
      </dgm:spPr>
    </dgm:pt>
    <dgm:pt modelId="{D1FA8FDC-5A7D-5F48-99E9-2953E5062844}" type="pres">
      <dgm:prSet presAssocID="{62B76224-1025-3D49-8B9A-CC6EB395A07F}" presName="spaceRect" presStyleCnt="0"/>
      <dgm:spPr/>
    </dgm:pt>
    <dgm:pt modelId="{7878AE0B-B1AD-ED4F-84ED-6CA895FE53E6}" type="pres">
      <dgm:prSet presAssocID="{62B76224-1025-3D49-8B9A-CC6EB395A07F}" presName="parTx" presStyleLbl="revTx" presStyleIdx="5" presStyleCnt="6">
        <dgm:presLayoutVars>
          <dgm:chMax val="0"/>
          <dgm:chPref val="0"/>
        </dgm:presLayoutVars>
      </dgm:prSet>
      <dgm:spPr/>
    </dgm:pt>
  </dgm:ptLst>
  <dgm:cxnLst>
    <dgm:cxn modelId="{E855C301-9E0B-4BC9-81B5-819CDB5CE8A9}" type="presOf" srcId="{28F87831-9F73-46E8-A899-A5D1E6C0F8FA}" destId="{B892899B-6826-4880-BD30-CE5A016393F8}" srcOrd="0" destOrd="0" presId="urn:microsoft.com/office/officeart/2018/2/layout/IconVerticalSolidList"/>
    <dgm:cxn modelId="{7C12BF11-A3CF-A846-B6FC-C3DEFBD88FF3}" srcId="{B6284740-5D9C-4CB9-A80E-2256237ED06D}" destId="{395476C8-058D-B342-AE8B-C26B3411C43E}" srcOrd="2" destOrd="0" parTransId="{D714D613-3B03-C342-AB9E-D656FA43594A}" sibTransId="{07FF3CD5-B519-FC42-B8B2-7373C1F695C7}"/>
    <dgm:cxn modelId="{262DDE11-63E7-5541-B089-8C15F58EAD4B}" type="presOf" srcId="{395476C8-058D-B342-AE8B-C26B3411C43E}" destId="{1464BE0B-40F6-8D46-B696-2F043B63C4F9}" srcOrd="0" destOrd="0" presId="urn:microsoft.com/office/officeart/2018/2/layout/IconVerticalSolidList"/>
    <dgm:cxn modelId="{BEC13916-4482-4AEB-A068-B3F2F650AD53}" type="presOf" srcId="{B6284740-5D9C-4CB9-A80E-2256237ED06D}" destId="{8893DF99-431C-4F42-B88C-FBDB9433E11B}" srcOrd="0" destOrd="0" presId="urn:microsoft.com/office/officeart/2018/2/layout/IconVerticalSolidList"/>
    <dgm:cxn modelId="{208B595E-7C7D-5F46-B28A-9D74F9EAD971}" srcId="{B6284740-5D9C-4CB9-A80E-2256237ED06D}" destId="{A4FC7F5C-CD47-584E-913A-DEA7812FCF8C}" srcOrd="4" destOrd="0" parTransId="{F647AC8F-EB90-704A-946F-D78FF39D3EA2}" sibTransId="{8BC41209-98D1-3C4F-8983-A777A14D822E}"/>
    <dgm:cxn modelId="{557EA95E-A05C-7A4E-ABF6-A7B15CE98D49}" srcId="{B6284740-5D9C-4CB9-A80E-2256237ED06D}" destId="{CA6C56D4-40A3-0C4B-A36E-9453E3092583}" srcOrd="3" destOrd="0" parTransId="{9E533490-09B5-2C45-A8D8-8A74DADBDBDD}" sibTransId="{6F72DD59-9D86-E548-B25B-C25931B212B2}"/>
    <dgm:cxn modelId="{28884460-5282-9A49-A89D-60E656EEA658}" type="presOf" srcId="{CA6C56D4-40A3-0C4B-A36E-9453E3092583}" destId="{E439FD84-2DF6-2B48-9EC9-760552FA8F7A}" srcOrd="0" destOrd="0" presId="urn:microsoft.com/office/officeart/2018/2/layout/IconVerticalSolidList"/>
    <dgm:cxn modelId="{86B4484C-0AA8-4716-A92A-F7150B65D707}" srcId="{B6284740-5D9C-4CB9-A80E-2256237ED06D}" destId="{28F87831-9F73-46E8-A899-A5D1E6C0F8FA}" srcOrd="0" destOrd="0" parTransId="{F43C922A-9C74-4D84-A092-25CEACF6A797}" sibTransId="{30D904F6-9EF5-441E-B6D8-BA6920103DF1}"/>
    <dgm:cxn modelId="{6463544D-DC7D-5546-B025-4C0312076A1D}" srcId="{B6284740-5D9C-4CB9-A80E-2256237ED06D}" destId="{F759548A-8F23-1148-AB3A-36BE65169F3A}" srcOrd="1" destOrd="0" parTransId="{6058C71F-83E7-9746-ABA1-A5F97FC10CD0}" sibTransId="{D5DCEAAD-B9B1-624E-8FD1-4E3FB2A553F9}"/>
    <dgm:cxn modelId="{605C8B7E-1DB7-EC40-AB98-9EC611CF016D}" srcId="{B6284740-5D9C-4CB9-A80E-2256237ED06D}" destId="{62B76224-1025-3D49-8B9A-CC6EB395A07F}" srcOrd="5" destOrd="0" parTransId="{FF94AACC-E2D4-7243-932A-27611F661904}" sibTransId="{917A66DE-2F75-CE44-9250-E319B2E467E5}"/>
    <dgm:cxn modelId="{533A1E89-FA43-DB47-BB8A-E902CA49EDC2}" type="presOf" srcId="{A4FC7F5C-CD47-584E-913A-DEA7812FCF8C}" destId="{D3EE60BA-FF61-404F-A1E3-0F4CED78D285}" srcOrd="0" destOrd="0" presId="urn:microsoft.com/office/officeart/2018/2/layout/IconVerticalSolidList"/>
    <dgm:cxn modelId="{E71E7498-EA44-0647-BF4F-2885F8B69787}" type="presOf" srcId="{62B76224-1025-3D49-8B9A-CC6EB395A07F}" destId="{7878AE0B-B1AD-ED4F-84ED-6CA895FE53E6}" srcOrd="0" destOrd="0" presId="urn:microsoft.com/office/officeart/2018/2/layout/IconVerticalSolidList"/>
    <dgm:cxn modelId="{66B313E5-1E14-7748-B23A-DF17363DC6E8}" type="presOf" srcId="{F759548A-8F23-1148-AB3A-36BE65169F3A}" destId="{79082CCF-919A-1445-A443-34F82F2607F2}" srcOrd="0" destOrd="0" presId="urn:microsoft.com/office/officeart/2018/2/layout/IconVerticalSolidList"/>
    <dgm:cxn modelId="{CA71A53F-0927-4917-877E-5186ED4F5047}" type="presParOf" srcId="{8893DF99-431C-4F42-B88C-FBDB9433E11B}" destId="{97595F3B-CF39-40B6-9001-4E74048254AD}" srcOrd="0" destOrd="0" presId="urn:microsoft.com/office/officeart/2018/2/layout/IconVerticalSolidList"/>
    <dgm:cxn modelId="{713EFADD-C635-4B74-92FC-6000B94AC2B5}" type="presParOf" srcId="{97595F3B-CF39-40B6-9001-4E74048254AD}" destId="{AB20D592-C47D-480E-9FCE-0B6AA553978A}" srcOrd="0" destOrd="0" presId="urn:microsoft.com/office/officeart/2018/2/layout/IconVerticalSolidList"/>
    <dgm:cxn modelId="{3A31F705-91E3-4791-8181-FA0F4D4B3DC9}" type="presParOf" srcId="{97595F3B-CF39-40B6-9001-4E74048254AD}" destId="{0F544F2F-7B63-4213-B3D8-8A7273281936}" srcOrd="1" destOrd="0" presId="urn:microsoft.com/office/officeart/2018/2/layout/IconVerticalSolidList"/>
    <dgm:cxn modelId="{66574733-CF17-41E3-863C-6136ACA76BFE}" type="presParOf" srcId="{97595F3B-CF39-40B6-9001-4E74048254AD}" destId="{B7868FB5-B477-43DE-AEEC-49C6AC93569A}" srcOrd="2" destOrd="0" presId="urn:microsoft.com/office/officeart/2018/2/layout/IconVerticalSolidList"/>
    <dgm:cxn modelId="{4CC15D3B-8368-4174-A33B-C215C5B57C45}" type="presParOf" srcId="{97595F3B-CF39-40B6-9001-4E74048254AD}" destId="{B892899B-6826-4880-BD30-CE5A016393F8}" srcOrd="3" destOrd="0" presId="urn:microsoft.com/office/officeart/2018/2/layout/IconVerticalSolidList"/>
    <dgm:cxn modelId="{0889860B-24A7-E04B-9D94-720319C058F5}" type="presParOf" srcId="{8893DF99-431C-4F42-B88C-FBDB9433E11B}" destId="{A61A350C-5552-0D4B-A010-BE5C01E1B483}" srcOrd="1" destOrd="0" presId="urn:microsoft.com/office/officeart/2018/2/layout/IconVerticalSolidList"/>
    <dgm:cxn modelId="{D81D7851-D9E4-584D-9AFD-C1C3C008353E}" type="presParOf" srcId="{8893DF99-431C-4F42-B88C-FBDB9433E11B}" destId="{8713B450-C2A7-6A45-BEC3-0DB65ED59762}" srcOrd="2" destOrd="0" presId="urn:microsoft.com/office/officeart/2018/2/layout/IconVerticalSolidList"/>
    <dgm:cxn modelId="{3B4BC3EA-F49C-A24A-9672-D06C39789F6B}" type="presParOf" srcId="{8713B450-C2A7-6A45-BEC3-0DB65ED59762}" destId="{4CDB3BC9-94A8-1942-A0D7-A6C018FBD8C0}" srcOrd="0" destOrd="0" presId="urn:microsoft.com/office/officeart/2018/2/layout/IconVerticalSolidList"/>
    <dgm:cxn modelId="{A0FC783B-02B5-CD40-92EA-A8E437E6D478}" type="presParOf" srcId="{8713B450-C2A7-6A45-BEC3-0DB65ED59762}" destId="{78F5EC67-82DB-3A47-BE47-F2ADC99F3A08}" srcOrd="1" destOrd="0" presId="urn:microsoft.com/office/officeart/2018/2/layout/IconVerticalSolidList"/>
    <dgm:cxn modelId="{346D7E78-BD4C-CB44-9BCE-603D83E44D20}" type="presParOf" srcId="{8713B450-C2A7-6A45-BEC3-0DB65ED59762}" destId="{ACD68306-3564-7F41-81F8-9F5A1B51C1C5}" srcOrd="2" destOrd="0" presId="urn:microsoft.com/office/officeart/2018/2/layout/IconVerticalSolidList"/>
    <dgm:cxn modelId="{8C3106E3-645A-7446-B842-4CA99BFB9C06}" type="presParOf" srcId="{8713B450-C2A7-6A45-BEC3-0DB65ED59762}" destId="{79082CCF-919A-1445-A443-34F82F2607F2}" srcOrd="3" destOrd="0" presId="urn:microsoft.com/office/officeart/2018/2/layout/IconVerticalSolidList"/>
    <dgm:cxn modelId="{D3015065-0F24-0349-9B89-B2DE919390F9}" type="presParOf" srcId="{8893DF99-431C-4F42-B88C-FBDB9433E11B}" destId="{744771DB-2C81-0545-BEFB-6DB44248FD2A}" srcOrd="3" destOrd="0" presId="urn:microsoft.com/office/officeart/2018/2/layout/IconVerticalSolidList"/>
    <dgm:cxn modelId="{A54E426C-28D0-1848-8094-4245A5EF5E2C}" type="presParOf" srcId="{8893DF99-431C-4F42-B88C-FBDB9433E11B}" destId="{DBCFCFB7-CF67-1B44-ADA5-DA4864527DFE}" srcOrd="4" destOrd="0" presId="urn:microsoft.com/office/officeart/2018/2/layout/IconVerticalSolidList"/>
    <dgm:cxn modelId="{652E5EEF-C13C-3145-AA2F-9B883F73A899}" type="presParOf" srcId="{DBCFCFB7-CF67-1B44-ADA5-DA4864527DFE}" destId="{B4969633-86E4-AB41-BEEF-CAF2378C4FFC}" srcOrd="0" destOrd="0" presId="urn:microsoft.com/office/officeart/2018/2/layout/IconVerticalSolidList"/>
    <dgm:cxn modelId="{592E3963-8BEC-8745-A587-F231F516EF5F}" type="presParOf" srcId="{DBCFCFB7-CF67-1B44-ADA5-DA4864527DFE}" destId="{BAA21375-639A-3F41-8793-387ACBF9EA6B}" srcOrd="1" destOrd="0" presId="urn:microsoft.com/office/officeart/2018/2/layout/IconVerticalSolidList"/>
    <dgm:cxn modelId="{87E90766-97C5-AA43-897B-0A8921A65315}" type="presParOf" srcId="{DBCFCFB7-CF67-1B44-ADA5-DA4864527DFE}" destId="{BB9D1799-7EFD-844C-8F8B-B1965F798118}" srcOrd="2" destOrd="0" presId="urn:microsoft.com/office/officeart/2018/2/layout/IconVerticalSolidList"/>
    <dgm:cxn modelId="{515EA71F-9738-4147-A166-1B62D830CA1E}" type="presParOf" srcId="{DBCFCFB7-CF67-1B44-ADA5-DA4864527DFE}" destId="{1464BE0B-40F6-8D46-B696-2F043B63C4F9}" srcOrd="3" destOrd="0" presId="urn:microsoft.com/office/officeart/2018/2/layout/IconVerticalSolidList"/>
    <dgm:cxn modelId="{AEDFB38D-6260-2D4D-8834-D8A4AC31CBB6}" type="presParOf" srcId="{8893DF99-431C-4F42-B88C-FBDB9433E11B}" destId="{A2FB444D-6529-1C4C-B773-4BCC87E0C34A}" srcOrd="5" destOrd="0" presId="urn:microsoft.com/office/officeart/2018/2/layout/IconVerticalSolidList"/>
    <dgm:cxn modelId="{FC1834C0-AC65-C448-973D-FB8327039C97}" type="presParOf" srcId="{8893DF99-431C-4F42-B88C-FBDB9433E11B}" destId="{00D43745-CFFC-E741-8809-AAAC66A54311}" srcOrd="6" destOrd="0" presId="urn:microsoft.com/office/officeart/2018/2/layout/IconVerticalSolidList"/>
    <dgm:cxn modelId="{DA2100CB-ADE2-024C-AAC2-A04548D8B616}" type="presParOf" srcId="{00D43745-CFFC-E741-8809-AAAC66A54311}" destId="{9BEC0F33-85C8-F249-8219-2A26EF3935D7}" srcOrd="0" destOrd="0" presId="urn:microsoft.com/office/officeart/2018/2/layout/IconVerticalSolidList"/>
    <dgm:cxn modelId="{1540D07D-37DD-AF4B-8E73-21D0B6B27ED1}" type="presParOf" srcId="{00D43745-CFFC-E741-8809-AAAC66A54311}" destId="{66DDA7D1-85F3-464F-A13A-715D7A05735B}" srcOrd="1" destOrd="0" presId="urn:microsoft.com/office/officeart/2018/2/layout/IconVerticalSolidList"/>
    <dgm:cxn modelId="{5547BA3F-25F9-9E46-BEC4-8F2272299915}" type="presParOf" srcId="{00D43745-CFFC-E741-8809-AAAC66A54311}" destId="{38E8B4E4-9D44-D240-B3DA-EF2CBFF967F2}" srcOrd="2" destOrd="0" presId="urn:microsoft.com/office/officeart/2018/2/layout/IconVerticalSolidList"/>
    <dgm:cxn modelId="{2226CD36-BE27-DD43-8E1F-BC466698FD97}" type="presParOf" srcId="{00D43745-CFFC-E741-8809-AAAC66A54311}" destId="{E439FD84-2DF6-2B48-9EC9-760552FA8F7A}" srcOrd="3" destOrd="0" presId="urn:microsoft.com/office/officeart/2018/2/layout/IconVerticalSolidList"/>
    <dgm:cxn modelId="{BCCD91D9-3CE6-5A46-8822-4C13F8D516C8}" type="presParOf" srcId="{8893DF99-431C-4F42-B88C-FBDB9433E11B}" destId="{16BB8B05-5407-8F42-B70B-627579B87B0A}" srcOrd="7" destOrd="0" presId="urn:microsoft.com/office/officeart/2018/2/layout/IconVerticalSolidList"/>
    <dgm:cxn modelId="{AA2330F6-E73A-C444-92A0-D87E607F404B}" type="presParOf" srcId="{8893DF99-431C-4F42-B88C-FBDB9433E11B}" destId="{499F2DEE-5224-F448-A613-2D1C4254C074}" srcOrd="8" destOrd="0" presId="urn:microsoft.com/office/officeart/2018/2/layout/IconVerticalSolidList"/>
    <dgm:cxn modelId="{3B4F49B0-B20D-0449-967C-DFBAA296ABD8}" type="presParOf" srcId="{499F2DEE-5224-F448-A613-2D1C4254C074}" destId="{DEBA26BF-3BEB-0B4C-9FF0-E194176C0F71}" srcOrd="0" destOrd="0" presId="urn:microsoft.com/office/officeart/2018/2/layout/IconVerticalSolidList"/>
    <dgm:cxn modelId="{846FE7C0-A3BC-4041-8A90-A38D76D57EB1}" type="presParOf" srcId="{499F2DEE-5224-F448-A613-2D1C4254C074}" destId="{A7BA3752-C53F-CC4D-9971-45D05F271C60}" srcOrd="1" destOrd="0" presId="urn:microsoft.com/office/officeart/2018/2/layout/IconVerticalSolidList"/>
    <dgm:cxn modelId="{BC91E1C7-47AC-824C-8A7B-91656B5AB677}" type="presParOf" srcId="{499F2DEE-5224-F448-A613-2D1C4254C074}" destId="{9EC82767-128E-244F-973F-7FEC0A67F6CE}" srcOrd="2" destOrd="0" presId="urn:microsoft.com/office/officeart/2018/2/layout/IconVerticalSolidList"/>
    <dgm:cxn modelId="{48E6D71D-112A-0045-BCA3-34AAB58C98C2}" type="presParOf" srcId="{499F2DEE-5224-F448-A613-2D1C4254C074}" destId="{D3EE60BA-FF61-404F-A1E3-0F4CED78D285}" srcOrd="3" destOrd="0" presId="urn:microsoft.com/office/officeart/2018/2/layout/IconVerticalSolidList"/>
    <dgm:cxn modelId="{62162735-2A82-014F-B18B-72A7ED8784F5}" type="presParOf" srcId="{8893DF99-431C-4F42-B88C-FBDB9433E11B}" destId="{57DD7F64-F539-EC4A-97C3-263E4B45C64A}" srcOrd="9" destOrd="0" presId="urn:microsoft.com/office/officeart/2018/2/layout/IconVerticalSolidList"/>
    <dgm:cxn modelId="{396B7C12-5F08-FB40-8202-46C8EC687236}" type="presParOf" srcId="{8893DF99-431C-4F42-B88C-FBDB9433E11B}" destId="{2EB44B44-F736-014E-B8FB-A7299B6A236E}" srcOrd="10" destOrd="0" presId="urn:microsoft.com/office/officeart/2018/2/layout/IconVerticalSolidList"/>
    <dgm:cxn modelId="{CA98D955-3CC9-C245-81E1-5423CC3851DB}" type="presParOf" srcId="{2EB44B44-F736-014E-B8FB-A7299B6A236E}" destId="{A4D0A183-46B9-9346-94F0-9738B4929113}" srcOrd="0" destOrd="0" presId="urn:microsoft.com/office/officeart/2018/2/layout/IconVerticalSolidList"/>
    <dgm:cxn modelId="{522E35B8-5B50-A946-8CB9-8E00A63261D0}" type="presParOf" srcId="{2EB44B44-F736-014E-B8FB-A7299B6A236E}" destId="{88313EBB-02AE-F348-BDDE-07C72027FDDA}" srcOrd="1" destOrd="0" presId="urn:microsoft.com/office/officeart/2018/2/layout/IconVerticalSolidList"/>
    <dgm:cxn modelId="{37B490A7-5714-D343-B71E-A2B7AC00F99D}" type="presParOf" srcId="{2EB44B44-F736-014E-B8FB-A7299B6A236E}" destId="{D1FA8FDC-5A7D-5F48-99E9-2953E5062844}" srcOrd="2" destOrd="0" presId="urn:microsoft.com/office/officeart/2018/2/layout/IconVerticalSolidList"/>
    <dgm:cxn modelId="{9A860CF1-FD77-3E4D-8919-714008E4CEBD}" type="presParOf" srcId="{2EB44B44-F736-014E-B8FB-A7299B6A236E}" destId="{7878AE0B-B1AD-ED4F-84ED-6CA895FE53E6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0D592-C47D-480E-9FCE-0B6AA553978A}">
      <dsp:nvSpPr>
        <dsp:cNvPr id="0" name=""/>
        <dsp:cNvSpPr/>
      </dsp:nvSpPr>
      <dsp:spPr>
        <a:xfrm>
          <a:off x="0" y="1559"/>
          <a:ext cx="10880725" cy="664349"/>
        </a:xfrm>
        <a:prstGeom prst="roundRect">
          <a:avLst>
            <a:gd name="adj" fmla="val 1000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544F2F-7B63-4213-B3D8-8A7273281936}">
      <dsp:nvSpPr>
        <dsp:cNvPr id="0" name=""/>
        <dsp:cNvSpPr/>
      </dsp:nvSpPr>
      <dsp:spPr>
        <a:xfrm>
          <a:off x="200965" y="151037"/>
          <a:ext cx="365392" cy="36539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92899B-6826-4880-BD30-CE5A016393F8}">
      <dsp:nvSpPr>
        <dsp:cNvPr id="0" name=""/>
        <dsp:cNvSpPr/>
      </dsp:nvSpPr>
      <dsp:spPr>
        <a:xfrm>
          <a:off x="767323" y="1559"/>
          <a:ext cx="10113401" cy="664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310" tIns="70310" rIns="70310" bIns="7031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baseline="0">
              <a:latin typeface="Segoe UI Light" panose="020B0502040204020203" pitchFamily="34" charset="0"/>
            </a:rPr>
            <a:t>Read the docs / know the API you want to build the connector for</a:t>
          </a:r>
          <a:endParaRPr lang="en-US" sz="1900" b="0" i="0" kern="1200">
            <a:latin typeface="Segoe UI Light" panose="020B0502040204020203" pitchFamily="34" charset="0"/>
          </a:endParaRPr>
        </a:p>
      </dsp:txBody>
      <dsp:txXfrm>
        <a:off x="767323" y="1559"/>
        <a:ext cx="10113401" cy="664349"/>
      </dsp:txXfrm>
    </dsp:sp>
    <dsp:sp modelId="{4CDB3BC9-94A8-1942-A0D7-A6C018FBD8C0}">
      <dsp:nvSpPr>
        <dsp:cNvPr id="0" name=""/>
        <dsp:cNvSpPr/>
      </dsp:nvSpPr>
      <dsp:spPr>
        <a:xfrm>
          <a:off x="0" y="831995"/>
          <a:ext cx="10880725" cy="664349"/>
        </a:xfrm>
        <a:prstGeom prst="roundRect">
          <a:avLst>
            <a:gd name="adj" fmla="val 1000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F5EC67-82DB-3A47-BE47-F2ADC99F3A08}">
      <dsp:nvSpPr>
        <dsp:cNvPr id="0" name=""/>
        <dsp:cNvSpPr/>
      </dsp:nvSpPr>
      <dsp:spPr>
        <a:xfrm>
          <a:off x="200965" y="981474"/>
          <a:ext cx="365392" cy="36539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082CCF-919A-1445-A443-34F82F2607F2}">
      <dsp:nvSpPr>
        <dsp:cNvPr id="0" name=""/>
        <dsp:cNvSpPr/>
      </dsp:nvSpPr>
      <dsp:spPr>
        <a:xfrm>
          <a:off x="767323" y="831995"/>
          <a:ext cx="10113401" cy="664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310" tIns="70310" rIns="70310" bIns="7031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>
              <a:latin typeface="Segoe UI Light" panose="020B0502040204020203" pitchFamily="34" charset="0"/>
            </a:rPr>
            <a:t>Start in one of the products (Power Apps, Power Automate or Logic Apps)</a:t>
          </a:r>
        </a:p>
      </dsp:txBody>
      <dsp:txXfrm>
        <a:off x="767323" y="831995"/>
        <a:ext cx="10113401" cy="664349"/>
      </dsp:txXfrm>
    </dsp:sp>
    <dsp:sp modelId="{B4969633-86E4-AB41-BEEF-CAF2378C4FFC}">
      <dsp:nvSpPr>
        <dsp:cNvPr id="0" name=""/>
        <dsp:cNvSpPr/>
      </dsp:nvSpPr>
      <dsp:spPr>
        <a:xfrm>
          <a:off x="0" y="1662432"/>
          <a:ext cx="10880725" cy="664349"/>
        </a:xfrm>
        <a:prstGeom prst="roundRect">
          <a:avLst>
            <a:gd name="adj" fmla="val 1000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A21375-639A-3F41-8793-387ACBF9EA6B}">
      <dsp:nvSpPr>
        <dsp:cNvPr id="0" name=""/>
        <dsp:cNvSpPr/>
      </dsp:nvSpPr>
      <dsp:spPr>
        <a:xfrm>
          <a:off x="200965" y="1811910"/>
          <a:ext cx="365392" cy="36539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464BE0B-40F6-8D46-B696-2F043B63C4F9}">
      <dsp:nvSpPr>
        <dsp:cNvPr id="0" name=""/>
        <dsp:cNvSpPr/>
      </dsp:nvSpPr>
      <dsp:spPr>
        <a:xfrm>
          <a:off x="767323" y="1662432"/>
          <a:ext cx="10113401" cy="664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310" tIns="70310" rIns="70310" bIns="7031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>
              <a:latin typeface="Segoe UI Light" panose="020B0502040204020203" pitchFamily="34" charset="0"/>
            </a:rPr>
            <a:t>Set up the authentication</a:t>
          </a:r>
        </a:p>
      </dsp:txBody>
      <dsp:txXfrm>
        <a:off x="767323" y="1662432"/>
        <a:ext cx="10113401" cy="664349"/>
      </dsp:txXfrm>
    </dsp:sp>
    <dsp:sp modelId="{9BEC0F33-85C8-F249-8219-2A26EF3935D7}">
      <dsp:nvSpPr>
        <dsp:cNvPr id="0" name=""/>
        <dsp:cNvSpPr/>
      </dsp:nvSpPr>
      <dsp:spPr>
        <a:xfrm>
          <a:off x="0" y="2492868"/>
          <a:ext cx="10880725" cy="664349"/>
        </a:xfrm>
        <a:prstGeom prst="roundRect">
          <a:avLst>
            <a:gd name="adj" fmla="val 1000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DDA7D1-85F3-464F-A13A-715D7A05735B}">
      <dsp:nvSpPr>
        <dsp:cNvPr id="0" name=""/>
        <dsp:cNvSpPr/>
      </dsp:nvSpPr>
      <dsp:spPr>
        <a:xfrm>
          <a:off x="200965" y="2642347"/>
          <a:ext cx="365392" cy="365392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39FD84-2DF6-2B48-9EC9-760552FA8F7A}">
      <dsp:nvSpPr>
        <dsp:cNvPr id="0" name=""/>
        <dsp:cNvSpPr/>
      </dsp:nvSpPr>
      <dsp:spPr>
        <a:xfrm>
          <a:off x="767323" y="2492868"/>
          <a:ext cx="10113401" cy="664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310" tIns="70310" rIns="70310" bIns="7031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>
              <a:latin typeface="Segoe UI Light" panose="020B0502040204020203" pitchFamily="34" charset="0"/>
            </a:rPr>
            <a:t>Define the operations (triggers / actions) for your connector</a:t>
          </a:r>
        </a:p>
      </dsp:txBody>
      <dsp:txXfrm>
        <a:off x="767323" y="2492868"/>
        <a:ext cx="10113401" cy="664349"/>
      </dsp:txXfrm>
    </dsp:sp>
    <dsp:sp modelId="{DEBA26BF-3BEB-0B4C-9FF0-E194176C0F71}">
      <dsp:nvSpPr>
        <dsp:cNvPr id="0" name=""/>
        <dsp:cNvSpPr/>
      </dsp:nvSpPr>
      <dsp:spPr>
        <a:xfrm>
          <a:off x="0" y="3323305"/>
          <a:ext cx="10880725" cy="664349"/>
        </a:xfrm>
        <a:prstGeom prst="roundRect">
          <a:avLst>
            <a:gd name="adj" fmla="val 1000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BA3752-C53F-CC4D-9971-45D05F271C60}">
      <dsp:nvSpPr>
        <dsp:cNvPr id="0" name=""/>
        <dsp:cNvSpPr/>
      </dsp:nvSpPr>
      <dsp:spPr>
        <a:xfrm>
          <a:off x="200965" y="3472783"/>
          <a:ext cx="365392" cy="365392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EE60BA-FF61-404F-A1E3-0F4CED78D285}">
      <dsp:nvSpPr>
        <dsp:cNvPr id="0" name=""/>
        <dsp:cNvSpPr/>
      </dsp:nvSpPr>
      <dsp:spPr>
        <a:xfrm>
          <a:off x="767323" y="3323305"/>
          <a:ext cx="10113401" cy="664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310" tIns="70310" rIns="70310" bIns="7031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>
              <a:latin typeface="Segoe UI Light" panose="020B0502040204020203" pitchFamily="34" charset="0"/>
            </a:rPr>
            <a:t>Add code if needed (for now, C# code is supported)</a:t>
          </a:r>
        </a:p>
      </dsp:txBody>
      <dsp:txXfrm>
        <a:off x="767323" y="3323305"/>
        <a:ext cx="10113401" cy="664349"/>
      </dsp:txXfrm>
    </dsp:sp>
    <dsp:sp modelId="{A4D0A183-46B9-9346-94F0-9738B4929113}">
      <dsp:nvSpPr>
        <dsp:cNvPr id="0" name=""/>
        <dsp:cNvSpPr/>
      </dsp:nvSpPr>
      <dsp:spPr>
        <a:xfrm>
          <a:off x="0" y="4153741"/>
          <a:ext cx="10880725" cy="664349"/>
        </a:xfrm>
        <a:prstGeom prst="roundRect">
          <a:avLst>
            <a:gd name="adj" fmla="val 1000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313EBB-02AE-F348-BDDE-07C72027FDDA}">
      <dsp:nvSpPr>
        <dsp:cNvPr id="0" name=""/>
        <dsp:cNvSpPr/>
      </dsp:nvSpPr>
      <dsp:spPr>
        <a:xfrm>
          <a:off x="200965" y="4303220"/>
          <a:ext cx="365392" cy="365392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78AE0B-B1AD-ED4F-84ED-6CA895FE53E6}">
      <dsp:nvSpPr>
        <dsp:cNvPr id="0" name=""/>
        <dsp:cNvSpPr/>
      </dsp:nvSpPr>
      <dsp:spPr>
        <a:xfrm>
          <a:off x="767323" y="4153741"/>
          <a:ext cx="10113401" cy="664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310" tIns="70310" rIns="70310" bIns="7031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>
              <a:latin typeface="Segoe UI Light" panose="020B0502040204020203" pitchFamily="34" charset="0"/>
            </a:rPr>
            <a:t>Save and test your connector</a:t>
          </a:r>
        </a:p>
      </dsp:txBody>
      <dsp:txXfrm>
        <a:off x="767323" y="4153741"/>
        <a:ext cx="10113401" cy="66434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0D592-C47D-480E-9FCE-0B6AA553978A}">
      <dsp:nvSpPr>
        <dsp:cNvPr id="0" name=""/>
        <dsp:cNvSpPr/>
      </dsp:nvSpPr>
      <dsp:spPr>
        <a:xfrm>
          <a:off x="0" y="1559"/>
          <a:ext cx="10880725" cy="664349"/>
        </a:xfrm>
        <a:prstGeom prst="roundRect">
          <a:avLst>
            <a:gd name="adj" fmla="val 1000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544F2F-7B63-4213-B3D8-8A7273281936}">
      <dsp:nvSpPr>
        <dsp:cNvPr id="0" name=""/>
        <dsp:cNvSpPr/>
      </dsp:nvSpPr>
      <dsp:spPr>
        <a:xfrm>
          <a:off x="200965" y="151037"/>
          <a:ext cx="365392" cy="36539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92899B-6826-4880-BD30-CE5A016393F8}">
      <dsp:nvSpPr>
        <dsp:cNvPr id="0" name=""/>
        <dsp:cNvSpPr/>
      </dsp:nvSpPr>
      <dsp:spPr>
        <a:xfrm>
          <a:off x="767323" y="1559"/>
          <a:ext cx="10113401" cy="664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310" tIns="70310" rIns="70310" bIns="7031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baseline="0">
              <a:latin typeface="Segoe UI Light" panose="020B0502040204020203" pitchFamily="34" charset="0"/>
            </a:rPr>
            <a:t>Create from blank</a:t>
          </a:r>
          <a:endParaRPr lang="en-US" sz="1900" b="0" i="0" kern="1200">
            <a:latin typeface="Segoe UI Light" panose="020B0502040204020203" pitchFamily="34" charset="0"/>
          </a:endParaRPr>
        </a:p>
      </dsp:txBody>
      <dsp:txXfrm>
        <a:off x="767323" y="1559"/>
        <a:ext cx="10113401" cy="664349"/>
      </dsp:txXfrm>
    </dsp:sp>
    <dsp:sp modelId="{4CDB3BC9-94A8-1942-A0D7-A6C018FBD8C0}">
      <dsp:nvSpPr>
        <dsp:cNvPr id="0" name=""/>
        <dsp:cNvSpPr/>
      </dsp:nvSpPr>
      <dsp:spPr>
        <a:xfrm>
          <a:off x="0" y="831995"/>
          <a:ext cx="10880725" cy="664349"/>
        </a:xfrm>
        <a:prstGeom prst="roundRect">
          <a:avLst>
            <a:gd name="adj" fmla="val 1000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F5EC67-82DB-3A47-BE47-F2ADC99F3A08}">
      <dsp:nvSpPr>
        <dsp:cNvPr id="0" name=""/>
        <dsp:cNvSpPr/>
      </dsp:nvSpPr>
      <dsp:spPr>
        <a:xfrm>
          <a:off x="200965" y="981474"/>
          <a:ext cx="365392" cy="36539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082CCF-919A-1445-A443-34F82F2607F2}">
      <dsp:nvSpPr>
        <dsp:cNvPr id="0" name=""/>
        <dsp:cNvSpPr/>
      </dsp:nvSpPr>
      <dsp:spPr>
        <a:xfrm>
          <a:off x="767323" y="831995"/>
          <a:ext cx="10113401" cy="664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310" tIns="70310" rIns="70310" bIns="7031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>
              <a:latin typeface="Segoe UI Light" panose="020B0502040204020203" pitchFamily="34" charset="0"/>
            </a:rPr>
            <a:t>Create from Azure Service (Preview)</a:t>
          </a:r>
        </a:p>
      </dsp:txBody>
      <dsp:txXfrm>
        <a:off x="767323" y="831995"/>
        <a:ext cx="10113401" cy="664349"/>
      </dsp:txXfrm>
    </dsp:sp>
    <dsp:sp modelId="{B4969633-86E4-AB41-BEEF-CAF2378C4FFC}">
      <dsp:nvSpPr>
        <dsp:cNvPr id="0" name=""/>
        <dsp:cNvSpPr/>
      </dsp:nvSpPr>
      <dsp:spPr>
        <a:xfrm>
          <a:off x="0" y="1662432"/>
          <a:ext cx="10880725" cy="664349"/>
        </a:xfrm>
        <a:prstGeom prst="roundRect">
          <a:avLst>
            <a:gd name="adj" fmla="val 1000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A21375-639A-3F41-8793-387ACBF9EA6B}">
      <dsp:nvSpPr>
        <dsp:cNvPr id="0" name=""/>
        <dsp:cNvSpPr/>
      </dsp:nvSpPr>
      <dsp:spPr>
        <a:xfrm>
          <a:off x="200965" y="1811910"/>
          <a:ext cx="365392" cy="36539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464BE0B-40F6-8D46-B696-2F043B63C4F9}">
      <dsp:nvSpPr>
        <dsp:cNvPr id="0" name=""/>
        <dsp:cNvSpPr/>
      </dsp:nvSpPr>
      <dsp:spPr>
        <a:xfrm>
          <a:off x="767323" y="1662432"/>
          <a:ext cx="10113401" cy="664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310" tIns="70310" rIns="70310" bIns="7031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>
              <a:latin typeface="Segoe UI Light" panose="020B0502040204020203" pitchFamily="34" charset="0"/>
            </a:rPr>
            <a:t>Import an </a:t>
          </a:r>
          <a:r>
            <a:rPr lang="en-US" sz="1900" b="0" i="0" kern="1200" err="1">
              <a:latin typeface="Segoe UI Light" panose="020B0502040204020203" pitchFamily="34" charset="0"/>
            </a:rPr>
            <a:t>OpenAPI</a:t>
          </a:r>
          <a:r>
            <a:rPr lang="en-US" sz="1900" b="0" i="0" kern="1200">
              <a:latin typeface="Segoe UI Light" panose="020B0502040204020203" pitchFamily="34" charset="0"/>
            </a:rPr>
            <a:t> file</a:t>
          </a:r>
        </a:p>
      </dsp:txBody>
      <dsp:txXfrm>
        <a:off x="767323" y="1662432"/>
        <a:ext cx="10113401" cy="664349"/>
      </dsp:txXfrm>
    </dsp:sp>
    <dsp:sp modelId="{9BEC0F33-85C8-F249-8219-2A26EF3935D7}">
      <dsp:nvSpPr>
        <dsp:cNvPr id="0" name=""/>
        <dsp:cNvSpPr/>
      </dsp:nvSpPr>
      <dsp:spPr>
        <a:xfrm>
          <a:off x="0" y="2492868"/>
          <a:ext cx="10880725" cy="664349"/>
        </a:xfrm>
        <a:prstGeom prst="roundRect">
          <a:avLst>
            <a:gd name="adj" fmla="val 1000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DDA7D1-85F3-464F-A13A-715D7A05735B}">
      <dsp:nvSpPr>
        <dsp:cNvPr id="0" name=""/>
        <dsp:cNvSpPr/>
      </dsp:nvSpPr>
      <dsp:spPr>
        <a:xfrm>
          <a:off x="200965" y="2642347"/>
          <a:ext cx="365392" cy="365392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39FD84-2DF6-2B48-9EC9-760552FA8F7A}">
      <dsp:nvSpPr>
        <dsp:cNvPr id="0" name=""/>
        <dsp:cNvSpPr/>
      </dsp:nvSpPr>
      <dsp:spPr>
        <a:xfrm>
          <a:off x="767323" y="2492868"/>
          <a:ext cx="10113401" cy="664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310" tIns="70310" rIns="70310" bIns="7031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>
              <a:latin typeface="Segoe UI Light" panose="020B0502040204020203" pitchFamily="34" charset="0"/>
            </a:rPr>
            <a:t>Import an </a:t>
          </a:r>
          <a:r>
            <a:rPr lang="en-US" sz="1900" b="0" i="0" kern="1200" err="1">
              <a:latin typeface="Segoe UI Light" panose="020B0502040204020203" pitchFamily="34" charset="0"/>
            </a:rPr>
            <a:t>OpenAPI</a:t>
          </a:r>
          <a:r>
            <a:rPr lang="en-US" sz="1900" b="0" i="0" kern="1200">
              <a:latin typeface="Segoe UI Light" panose="020B0502040204020203" pitchFamily="34" charset="0"/>
            </a:rPr>
            <a:t> from URL</a:t>
          </a:r>
        </a:p>
      </dsp:txBody>
      <dsp:txXfrm>
        <a:off x="767323" y="2492868"/>
        <a:ext cx="10113401" cy="664349"/>
      </dsp:txXfrm>
    </dsp:sp>
    <dsp:sp modelId="{DEBA26BF-3BEB-0B4C-9FF0-E194176C0F71}">
      <dsp:nvSpPr>
        <dsp:cNvPr id="0" name=""/>
        <dsp:cNvSpPr/>
      </dsp:nvSpPr>
      <dsp:spPr>
        <a:xfrm>
          <a:off x="0" y="3323305"/>
          <a:ext cx="10880725" cy="664349"/>
        </a:xfrm>
        <a:prstGeom prst="roundRect">
          <a:avLst>
            <a:gd name="adj" fmla="val 1000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BA3752-C53F-CC4D-9971-45D05F271C60}">
      <dsp:nvSpPr>
        <dsp:cNvPr id="0" name=""/>
        <dsp:cNvSpPr/>
      </dsp:nvSpPr>
      <dsp:spPr>
        <a:xfrm>
          <a:off x="200965" y="3472783"/>
          <a:ext cx="365392" cy="365392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EE60BA-FF61-404F-A1E3-0F4CED78D285}">
      <dsp:nvSpPr>
        <dsp:cNvPr id="0" name=""/>
        <dsp:cNvSpPr/>
      </dsp:nvSpPr>
      <dsp:spPr>
        <a:xfrm>
          <a:off x="767323" y="3323305"/>
          <a:ext cx="10113401" cy="664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310" tIns="70310" rIns="70310" bIns="7031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>
              <a:latin typeface="Segoe UI Light" panose="020B0502040204020203" pitchFamily="34" charset="0"/>
            </a:rPr>
            <a:t>Import a Postman collection</a:t>
          </a:r>
        </a:p>
      </dsp:txBody>
      <dsp:txXfrm>
        <a:off x="767323" y="3323305"/>
        <a:ext cx="10113401" cy="664349"/>
      </dsp:txXfrm>
    </dsp:sp>
    <dsp:sp modelId="{A4D0A183-46B9-9346-94F0-9738B4929113}">
      <dsp:nvSpPr>
        <dsp:cNvPr id="0" name=""/>
        <dsp:cNvSpPr/>
      </dsp:nvSpPr>
      <dsp:spPr>
        <a:xfrm>
          <a:off x="0" y="4153741"/>
          <a:ext cx="10880725" cy="664349"/>
        </a:xfrm>
        <a:prstGeom prst="roundRect">
          <a:avLst>
            <a:gd name="adj" fmla="val 1000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313EBB-02AE-F348-BDDE-07C72027FDDA}">
      <dsp:nvSpPr>
        <dsp:cNvPr id="0" name=""/>
        <dsp:cNvSpPr/>
      </dsp:nvSpPr>
      <dsp:spPr>
        <a:xfrm>
          <a:off x="200965" y="4303220"/>
          <a:ext cx="365392" cy="365392"/>
        </a:xfrm>
        <a:prstGeom prst="rect">
          <a:avLst/>
        </a:prstGeom>
        <a:blipFill>
          <a:blip xmlns:r="http://schemas.openxmlformats.org/officeDocument/2006/relationships" r:embed="rId11"/>
          <a:srcRect/>
          <a:stretch>
            <a:fillRect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78AE0B-B1AD-ED4F-84ED-6CA895FE53E6}">
      <dsp:nvSpPr>
        <dsp:cNvPr id="0" name=""/>
        <dsp:cNvSpPr/>
      </dsp:nvSpPr>
      <dsp:spPr>
        <a:xfrm>
          <a:off x="767323" y="4153741"/>
          <a:ext cx="10113401" cy="664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310" tIns="70310" rIns="70310" bIns="7031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>
              <a:latin typeface="Segoe UI Light" panose="020B0502040204020203" pitchFamily="34" charset="0"/>
            </a:rPr>
            <a:t>Import from GitHub</a:t>
          </a:r>
        </a:p>
      </dsp:txBody>
      <dsp:txXfrm>
        <a:off x="767323" y="4153741"/>
        <a:ext cx="10113401" cy="66434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0D9FEDD-C978-AAFB-8403-B15F9F6CFB3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C2C3DD-3244-F357-5C9B-05FEE6261A6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1B17F8-FBCE-4139-93C4-FF4D107C7494}" type="datetimeFigureOut">
              <a:rPr lang="nb-NO" smtClean="0"/>
              <a:t>27.09.2024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DAC7A4-96EE-9587-7618-F09CC551789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7790AD-8297-C3DC-AA86-31633442A1D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39F8FD-D510-4F21-A09A-DB2ED514F3D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656591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2BADD-CBE1-4CD0-85C7-95016071AA15}" type="datetimeFigureOut">
              <a:rPr lang="nb-NO" smtClean="0"/>
              <a:t>27.09.2024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3AC0B2-63C9-4554-BD8D-6E9AC101EA5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94302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3347864"/>
            <a:ext cx="5486400" cy="5643736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EBD503-35D4-44A8-8587-AEC2C404BB90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685800" y="25400"/>
            <a:ext cx="5486400" cy="3086100"/>
          </a:xfrm>
        </p:spPr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-1" y="8685213"/>
            <a:ext cx="6342927" cy="4587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2013 Microsoft Corporation    	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788538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3347864"/>
            <a:ext cx="5486400" cy="5643736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EBD503-35D4-44A8-8587-AEC2C404BB90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685800" y="25400"/>
            <a:ext cx="5486400" cy="3086100"/>
          </a:xfrm>
        </p:spPr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-1" y="8685213"/>
            <a:ext cx="6342927" cy="4587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2013 Microsoft Corporation    	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629486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C5BEE9-B42E-2D8D-F72B-DB53BFEF83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04CE19C-6FCA-DB10-30AC-6EEF94EAB6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A1ABBF-CA98-DB51-961A-586C07A529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2015A6-6924-20F3-A72A-3A9ACB434D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3AC0B2-63C9-4554-BD8D-6E9AC101EA52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31507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image" Target="../media/image6.png"/><Relationship Id="rId21" Type="http://schemas.openxmlformats.org/officeDocument/2006/relationships/image" Target="../media/image24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24" Type="http://schemas.openxmlformats.org/officeDocument/2006/relationships/image" Target="../media/image27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23" Type="http://schemas.openxmlformats.org/officeDocument/2006/relationships/image" Target="../media/image26.sv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svg"/><Relationship Id="rId22" Type="http://schemas.openxmlformats.org/officeDocument/2006/relationships/image" Target="../media/image2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5.png"/><Relationship Id="rId18" Type="http://schemas.openxmlformats.org/officeDocument/2006/relationships/image" Target="../media/image12.png"/><Relationship Id="rId3" Type="http://schemas.openxmlformats.org/officeDocument/2006/relationships/image" Target="../media/image22.png"/><Relationship Id="rId21" Type="http://schemas.openxmlformats.org/officeDocument/2006/relationships/image" Target="../media/image16.png"/><Relationship Id="rId7" Type="http://schemas.openxmlformats.org/officeDocument/2006/relationships/image" Target="../media/image8.png"/><Relationship Id="rId12" Type="http://schemas.openxmlformats.org/officeDocument/2006/relationships/image" Target="../media/image27.png"/><Relationship Id="rId17" Type="http://schemas.openxmlformats.org/officeDocument/2006/relationships/image" Target="../media/image11.png"/><Relationship Id="rId2" Type="http://schemas.openxmlformats.org/officeDocument/2006/relationships/image" Target="../media/image21.png"/><Relationship Id="rId16" Type="http://schemas.openxmlformats.org/officeDocument/2006/relationships/image" Target="../media/image10.png"/><Relationship Id="rId20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26.svg"/><Relationship Id="rId5" Type="http://schemas.openxmlformats.org/officeDocument/2006/relationships/image" Target="../media/image24.png"/><Relationship Id="rId15" Type="http://schemas.openxmlformats.org/officeDocument/2006/relationships/image" Target="../media/image9.png"/><Relationship Id="rId10" Type="http://schemas.openxmlformats.org/officeDocument/2006/relationships/image" Target="../media/image25.png"/><Relationship Id="rId19" Type="http://schemas.openxmlformats.org/officeDocument/2006/relationships/image" Target="../media/image13.png"/><Relationship Id="rId4" Type="http://schemas.openxmlformats.org/officeDocument/2006/relationships/image" Target="../media/image23.png"/><Relationship Id="rId9" Type="http://schemas.openxmlformats.org/officeDocument/2006/relationships/image" Target="../media/image18.png"/><Relationship Id="rId14" Type="http://schemas.openxmlformats.org/officeDocument/2006/relationships/image" Target="../media/image6.png"/><Relationship Id="rId22" Type="http://schemas.openxmlformats.org/officeDocument/2006/relationships/image" Target="../media/image17.sv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9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sv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9.jpe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5.jpe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9.jpeg"/><Relationship Id="rId4" Type="http://schemas.openxmlformats.org/officeDocument/2006/relationships/image" Target="../media/image58.jpe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0.jpe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9.jpe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0.jpe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9.sv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jpe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rdic Summ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Nordic Summit logo">
            <a:extLst>
              <a:ext uri="{FF2B5EF4-FFF2-40B4-BE49-F238E27FC236}">
                <a16:creationId xmlns:a16="http://schemas.microsoft.com/office/drawing/2014/main" id="{050B9CCD-06C5-EED8-941A-A5F7A1E382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53318"/>
            <a:ext cx="12192000" cy="5041392"/>
          </a:xfrm>
          <a:prstGeom prst="rect">
            <a:avLst/>
          </a:prstGeom>
          <a:solidFill>
            <a:srgbClr val="D8DEE9"/>
          </a:solidFill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74528DC-6B10-5FC8-6BA2-88CC92484938}"/>
              </a:ext>
            </a:extLst>
          </p:cNvPr>
          <p:cNvSpPr txBox="1"/>
          <p:nvPr userDrawn="1"/>
        </p:nvSpPr>
        <p:spPr>
          <a:xfrm>
            <a:off x="0" y="5352720"/>
            <a:ext cx="12192000" cy="150528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4400">
                <a:latin typeface="Abel" panose="02000506030000020004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Oslo – 28th September 2024</a:t>
            </a:r>
          </a:p>
        </p:txBody>
      </p:sp>
    </p:spTree>
    <p:extLst>
      <p:ext uri="{BB962C8B-B14F-4D97-AF65-F5344CB8AC3E}">
        <p14:creationId xmlns:p14="http://schemas.microsoft.com/office/powerpoint/2010/main" val="23216396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lIns="9144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add tit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88984C7-EB4A-B02E-1015-174960C456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188000"/>
            <a:ext cx="5598000" cy="503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20BB459E-95C4-60CB-CAD8-51E1614CC5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58800" y="1188000"/>
            <a:ext cx="5598000" cy="503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54081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lIns="9144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add tit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88984C7-EB4A-B02E-1015-174960C456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522800"/>
            <a:ext cx="5598000" cy="465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20BB459E-95C4-60CB-CAD8-51E1614CC5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58800" y="1522800"/>
            <a:ext cx="5598000" cy="465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CC84AA8D-7437-9A92-8142-3E479E502A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348" y="1065600"/>
            <a:ext cx="5597852" cy="42501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7276CFD-4FE4-4946-8643-E74CB5B44D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58948" y="1065600"/>
            <a:ext cx="5597852" cy="42501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2057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lIns="91440" tIns="45720" rIns="91440" bIns="45720" rtlCol="0" anchor="t">
            <a:noAutofit/>
          </a:bodyPr>
          <a:lstStyle>
            <a:lvl1pPr algn="l">
              <a:defRPr lang="en-US" dirty="0"/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449219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52ECD997-B110-13A5-7779-15844810EF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199600" cy="608400"/>
          </a:xfrm>
        </p:spPr>
        <p:txBody>
          <a:bodyPr vert="horz" lIns="91440" tIns="45720" rIns="91440" bIns="45720" rtlCol="0" anchor="t">
            <a:noAutofit/>
          </a:bodyPr>
          <a:lstStyle>
            <a:lvl1pPr algn="l">
              <a:defRPr lang="en-US" dirty="0"/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add titl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D4D1F1C9-359E-0A1E-8D0F-4A7A68592D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348" y="1065600"/>
            <a:ext cx="11199452" cy="42501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9416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05519E2-0889-62F5-38A7-4A978B40738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3021" y="58191"/>
            <a:ext cx="11972925" cy="61243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894C6A6-0DC0-1D29-0298-4B1F866B7D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08" t="31944" r="24980" b="33722"/>
          <a:stretch/>
        </p:blipFill>
        <p:spPr>
          <a:xfrm>
            <a:off x="10512742" y="2904222"/>
            <a:ext cx="1289682" cy="432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66833B4-0A58-3C36-1C1A-2DAD8322AA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25" b="15280"/>
          <a:stretch/>
        </p:blipFill>
        <p:spPr>
          <a:xfrm>
            <a:off x="5164685" y="2811269"/>
            <a:ext cx="2084463" cy="540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2228F81-DAB1-4127-62C2-45161DF9C5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27348" y="4615665"/>
            <a:ext cx="878520" cy="48885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CBC8A9-5595-42BA-F282-021C60F9CB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2359" y="4696515"/>
            <a:ext cx="1082464" cy="52041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6EFD1C1-265C-3B01-C794-7C73E6207A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04" t="27815" r="19406" b="43155"/>
          <a:stretch/>
        </p:blipFill>
        <p:spPr>
          <a:xfrm>
            <a:off x="9934970" y="3618055"/>
            <a:ext cx="1825734" cy="540000"/>
          </a:xfrm>
          <a:prstGeom prst="rect">
            <a:avLst/>
          </a:prstGeom>
        </p:spPr>
      </p:pic>
      <p:pic>
        <p:nvPicPr>
          <p:cNvPr id="9" name="Picture 8" descr="A black background with blue text&#10;&#10;Description automatically generated">
            <a:extLst>
              <a:ext uri="{FF2B5EF4-FFF2-40B4-BE49-F238E27FC236}">
                <a16:creationId xmlns:a16="http://schemas.microsoft.com/office/drawing/2014/main" id="{87BC6CF5-692F-BEF6-989A-A3A0D16062E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576" y="2888641"/>
            <a:ext cx="2431618" cy="540000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47CD2346-83CF-AADC-7A97-527B3D637F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88214" y="2914862"/>
            <a:ext cx="1409451" cy="352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C2DFA7A-5DD3-46D3-6F76-B3ED43291B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28" t="55401" r="15078" b="29048"/>
          <a:stretch/>
        </p:blipFill>
        <p:spPr>
          <a:xfrm>
            <a:off x="7716168" y="2872988"/>
            <a:ext cx="2357533" cy="540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1B4766-F780-0B04-C618-03EAAA06A6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51" t="25776" r="15417" b="46018"/>
          <a:stretch/>
        </p:blipFill>
        <p:spPr>
          <a:xfrm>
            <a:off x="375224" y="3618055"/>
            <a:ext cx="2172550" cy="54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DBE8A6D-AA7E-8968-21DD-121358C14F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11" t="53536" r="18240" b="28250"/>
          <a:stretch/>
        </p:blipFill>
        <p:spPr>
          <a:xfrm>
            <a:off x="6839617" y="3581649"/>
            <a:ext cx="1898865" cy="540000"/>
          </a:xfrm>
          <a:prstGeom prst="rect">
            <a:avLst/>
          </a:prstGeom>
        </p:spPr>
      </p:pic>
      <p:grpSp>
        <p:nvGrpSpPr>
          <p:cNvPr id="15" name="Picture 13">
            <a:extLst>
              <a:ext uri="{FF2B5EF4-FFF2-40B4-BE49-F238E27FC236}">
                <a16:creationId xmlns:a16="http://schemas.microsoft.com/office/drawing/2014/main" id="{030F7256-8271-C916-EC5E-5626E8756D25}"/>
              </a:ext>
            </a:extLst>
          </p:cNvPr>
          <p:cNvGrpSpPr/>
          <p:nvPr userDrawn="1"/>
        </p:nvGrpSpPr>
        <p:grpSpPr>
          <a:xfrm>
            <a:off x="398954" y="4824238"/>
            <a:ext cx="1301903" cy="224728"/>
            <a:chOff x="2004770" y="3986902"/>
            <a:chExt cx="2564763" cy="475281"/>
          </a:xfrm>
          <a:solidFill>
            <a:schemeClr val="bg2">
              <a:lumMod val="25000"/>
            </a:schemeClr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FB1014A-C4EE-E75C-5649-00900DAE9CBF}"/>
                </a:ext>
              </a:extLst>
            </p:cNvPr>
            <p:cNvSpPr/>
            <p:nvPr/>
          </p:nvSpPr>
          <p:spPr>
            <a:xfrm>
              <a:off x="2004770" y="4096861"/>
              <a:ext cx="250448" cy="365322"/>
            </a:xfrm>
            <a:custGeom>
              <a:avLst/>
              <a:gdLst>
                <a:gd name="connsiteX0" fmla="*/ 246050 w 250448"/>
                <a:gd name="connsiteY0" fmla="*/ 10090 h 365322"/>
                <a:gd name="connsiteX1" fmla="*/ 250448 w 250448"/>
                <a:gd name="connsiteY1" fmla="*/ 21474 h 365322"/>
                <a:gd name="connsiteX2" fmla="*/ 250448 w 250448"/>
                <a:gd name="connsiteY2" fmla="*/ 240358 h 365322"/>
                <a:gd name="connsiteX3" fmla="*/ 234148 w 250448"/>
                <a:gd name="connsiteY3" fmla="*/ 307885 h 365322"/>
                <a:gd name="connsiteX4" fmla="*/ 189130 w 250448"/>
                <a:gd name="connsiteY4" fmla="*/ 350575 h 365322"/>
                <a:gd name="connsiteX5" fmla="*/ 123672 w 250448"/>
                <a:gd name="connsiteY5" fmla="*/ 365323 h 365322"/>
                <a:gd name="connsiteX6" fmla="*/ 86415 w 250448"/>
                <a:gd name="connsiteY6" fmla="*/ 360666 h 365322"/>
                <a:gd name="connsiteX7" fmla="*/ 53039 w 250448"/>
                <a:gd name="connsiteY7" fmla="*/ 349023 h 365322"/>
                <a:gd name="connsiteX8" fmla="*/ 36998 w 250448"/>
                <a:gd name="connsiteY8" fmla="*/ 334275 h 365322"/>
                <a:gd name="connsiteX9" fmla="*/ 33376 w 250448"/>
                <a:gd name="connsiteY9" fmla="*/ 326255 h 365322"/>
                <a:gd name="connsiteX10" fmla="*/ 38033 w 250448"/>
                <a:gd name="connsiteY10" fmla="*/ 318234 h 365322"/>
                <a:gd name="connsiteX11" fmla="*/ 43207 w 250448"/>
                <a:gd name="connsiteY11" fmla="*/ 316682 h 365322"/>
                <a:gd name="connsiteX12" fmla="*/ 54850 w 250448"/>
                <a:gd name="connsiteY12" fmla="*/ 320304 h 365322"/>
                <a:gd name="connsiteX13" fmla="*/ 65458 w 250448"/>
                <a:gd name="connsiteY13" fmla="*/ 324961 h 365322"/>
                <a:gd name="connsiteX14" fmla="*/ 124189 w 250448"/>
                <a:gd name="connsiteY14" fmla="*/ 337121 h 365322"/>
                <a:gd name="connsiteX15" fmla="*/ 194563 w 250448"/>
                <a:gd name="connsiteY15" fmla="*/ 311507 h 365322"/>
                <a:gd name="connsiteX16" fmla="*/ 220177 w 250448"/>
                <a:gd name="connsiteY16" fmla="*/ 242427 h 365322"/>
                <a:gd name="connsiteX17" fmla="*/ 220177 w 250448"/>
                <a:gd name="connsiteY17" fmla="*/ 210863 h 365322"/>
                <a:gd name="connsiteX18" fmla="*/ 180333 w 250448"/>
                <a:gd name="connsiteY18" fmla="*/ 253553 h 365322"/>
                <a:gd name="connsiteX19" fmla="*/ 123154 w 250448"/>
                <a:gd name="connsiteY19" fmla="*/ 269076 h 365322"/>
                <a:gd name="connsiteX20" fmla="*/ 60283 w 250448"/>
                <a:gd name="connsiteY20" fmla="*/ 251742 h 365322"/>
                <a:gd name="connsiteX21" fmla="*/ 16041 w 250448"/>
                <a:gd name="connsiteY21" fmla="*/ 203618 h 365322"/>
                <a:gd name="connsiteX22" fmla="*/ 0 w 250448"/>
                <a:gd name="connsiteY22" fmla="*/ 134279 h 365322"/>
                <a:gd name="connsiteX23" fmla="*/ 16041 w 250448"/>
                <a:gd name="connsiteY23" fmla="*/ 65458 h 365322"/>
                <a:gd name="connsiteX24" fmla="*/ 60283 w 250448"/>
                <a:gd name="connsiteY24" fmla="*/ 17335 h 365322"/>
                <a:gd name="connsiteX25" fmla="*/ 122637 w 250448"/>
                <a:gd name="connsiteY25" fmla="*/ 0 h 365322"/>
                <a:gd name="connsiteX26" fmla="*/ 181109 w 250448"/>
                <a:gd name="connsiteY26" fmla="*/ 15782 h 365322"/>
                <a:gd name="connsiteX27" fmla="*/ 220177 w 250448"/>
                <a:gd name="connsiteY27" fmla="*/ 53815 h 365322"/>
                <a:gd name="connsiteX28" fmla="*/ 220177 w 250448"/>
                <a:gd name="connsiteY28" fmla="*/ 21474 h 365322"/>
                <a:gd name="connsiteX29" fmla="*/ 224575 w 250448"/>
                <a:gd name="connsiteY29" fmla="*/ 10349 h 365322"/>
                <a:gd name="connsiteX30" fmla="*/ 235442 w 250448"/>
                <a:gd name="connsiteY30" fmla="*/ 5692 h 365322"/>
                <a:gd name="connsiteX31" fmla="*/ 246050 w 250448"/>
                <a:gd name="connsiteY31" fmla="*/ 10090 h 365322"/>
                <a:gd name="connsiteX32" fmla="*/ 175417 w 250448"/>
                <a:gd name="connsiteY32" fmla="*/ 227162 h 365322"/>
                <a:gd name="connsiteX33" fmla="*/ 209828 w 250448"/>
                <a:gd name="connsiteY33" fmla="*/ 189388 h 365322"/>
                <a:gd name="connsiteX34" fmla="*/ 222247 w 250448"/>
                <a:gd name="connsiteY34" fmla="*/ 134021 h 365322"/>
                <a:gd name="connsiteX35" fmla="*/ 209828 w 250448"/>
                <a:gd name="connsiteY35" fmla="*/ 78912 h 365322"/>
                <a:gd name="connsiteX36" fmla="*/ 175417 w 250448"/>
                <a:gd name="connsiteY36" fmla="*/ 41396 h 365322"/>
                <a:gd name="connsiteX37" fmla="*/ 125741 w 250448"/>
                <a:gd name="connsiteY37" fmla="*/ 27943 h 365322"/>
                <a:gd name="connsiteX38" fmla="*/ 76583 w 250448"/>
                <a:gd name="connsiteY38" fmla="*/ 41914 h 365322"/>
                <a:gd name="connsiteX39" fmla="*/ 42173 w 250448"/>
                <a:gd name="connsiteY39" fmla="*/ 79947 h 365322"/>
                <a:gd name="connsiteX40" fmla="*/ 29754 w 250448"/>
                <a:gd name="connsiteY40" fmla="*/ 134021 h 365322"/>
                <a:gd name="connsiteX41" fmla="*/ 42173 w 250448"/>
                <a:gd name="connsiteY41" fmla="*/ 188612 h 365322"/>
                <a:gd name="connsiteX42" fmla="*/ 76583 w 250448"/>
                <a:gd name="connsiteY42" fmla="*/ 226645 h 365322"/>
                <a:gd name="connsiteX43" fmla="*/ 125741 w 250448"/>
                <a:gd name="connsiteY43" fmla="*/ 240616 h 365322"/>
                <a:gd name="connsiteX44" fmla="*/ 175417 w 250448"/>
                <a:gd name="connsiteY44" fmla="*/ 227162 h 365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50448" h="365322">
                  <a:moveTo>
                    <a:pt x="246050" y="10090"/>
                  </a:moveTo>
                  <a:cubicBezTo>
                    <a:pt x="248896" y="12936"/>
                    <a:pt x="250448" y="16817"/>
                    <a:pt x="250448" y="21474"/>
                  </a:cubicBezTo>
                  <a:lnTo>
                    <a:pt x="250448" y="240358"/>
                  </a:lnTo>
                  <a:cubicBezTo>
                    <a:pt x="250448" y="266748"/>
                    <a:pt x="245015" y="288998"/>
                    <a:pt x="234148" y="307885"/>
                  </a:cubicBezTo>
                  <a:cubicBezTo>
                    <a:pt x="223282" y="326514"/>
                    <a:pt x="208275" y="340744"/>
                    <a:pt x="189130" y="350575"/>
                  </a:cubicBezTo>
                  <a:cubicBezTo>
                    <a:pt x="169984" y="360407"/>
                    <a:pt x="148251" y="365323"/>
                    <a:pt x="123672" y="365323"/>
                  </a:cubicBezTo>
                  <a:cubicBezTo>
                    <a:pt x="111770" y="365323"/>
                    <a:pt x="99610" y="363770"/>
                    <a:pt x="86415" y="360666"/>
                  </a:cubicBezTo>
                  <a:cubicBezTo>
                    <a:pt x="73479" y="357561"/>
                    <a:pt x="62353" y="353680"/>
                    <a:pt x="53039" y="349023"/>
                  </a:cubicBezTo>
                  <a:cubicBezTo>
                    <a:pt x="43725" y="344366"/>
                    <a:pt x="38550" y="339450"/>
                    <a:pt x="36998" y="334275"/>
                  </a:cubicBezTo>
                  <a:cubicBezTo>
                    <a:pt x="34669" y="331947"/>
                    <a:pt x="33376" y="329101"/>
                    <a:pt x="33376" y="326255"/>
                  </a:cubicBezTo>
                  <a:cubicBezTo>
                    <a:pt x="33376" y="322891"/>
                    <a:pt x="34928" y="320304"/>
                    <a:pt x="38033" y="318234"/>
                  </a:cubicBezTo>
                  <a:cubicBezTo>
                    <a:pt x="39327" y="317200"/>
                    <a:pt x="41138" y="316682"/>
                    <a:pt x="43207" y="316682"/>
                  </a:cubicBezTo>
                  <a:cubicBezTo>
                    <a:pt x="45277" y="316682"/>
                    <a:pt x="49158" y="317976"/>
                    <a:pt x="54850" y="320304"/>
                  </a:cubicBezTo>
                  <a:lnTo>
                    <a:pt x="65458" y="324961"/>
                  </a:lnTo>
                  <a:cubicBezTo>
                    <a:pt x="86415" y="332982"/>
                    <a:pt x="105819" y="337121"/>
                    <a:pt x="124189" y="337121"/>
                  </a:cubicBezTo>
                  <a:cubicBezTo>
                    <a:pt x="154201" y="337121"/>
                    <a:pt x="177746" y="328583"/>
                    <a:pt x="194563" y="311507"/>
                  </a:cubicBezTo>
                  <a:cubicBezTo>
                    <a:pt x="211639" y="294432"/>
                    <a:pt x="220177" y="271405"/>
                    <a:pt x="220177" y="242427"/>
                  </a:cubicBezTo>
                  <a:lnTo>
                    <a:pt x="220177" y="210863"/>
                  </a:lnTo>
                  <a:cubicBezTo>
                    <a:pt x="211639" y="228974"/>
                    <a:pt x="198444" y="243204"/>
                    <a:pt x="180333" y="253553"/>
                  </a:cubicBezTo>
                  <a:cubicBezTo>
                    <a:pt x="162222" y="263902"/>
                    <a:pt x="143076" y="269076"/>
                    <a:pt x="123154" y="269076"/>
                  </a:cubicBezTo>
                  <a:cubicBezTo>
                    <a:pt x="99869" y="269076"/>
                    <a:pt x="78912" y="263384"/>
                    <a:pt x="60283" y="251742"/>
                  </a:cubicBezTo>
                  <a:cubicBezTo>
                    <a:pt x="41655" y="240099"/>
                    <a:pt x="26908" y="224058"/>
                    <a:pt x="16041" y="203618"/>
                  </a:cubicBezTo>
                  <a:cubicBezTo>
                    <a:pt x="5175" y="183179"/>
                    <a:pt x="0" y="159893"/>
                    <a:pt x="0" y="134279"/>
                  </a:cubicBezTo>
                  <a:cubicBezTo>
                    <a:pt x="0" y="108924"/>
                    <a:pt x="5433" y="86156"/>
                    <a:pt x="16041" y="65458"/>
                  </a:cubicBezTo>
                  <a:cubicBezTo>
                    <a:pt x="26908" y="45019"/>
                    <a:pt x="41655" y="28719"/>
                    <a:pt x="60283" y="17335"/>
                  </a:cubicBezTo>
                  <a:cubicBezTo>
                    <a:pt x="78912" y="5692"/>
                    <a:pt x="99869" y="0"/>
                    <a:pt x="122637" y="0"/>
                  </a:cubicBezTo>
                  <a:cubicBezTo>
                    <a:pt x="143852" y="0"/>
                    <a:pt x="163257" y="5175"/>
                    <a:pt x="181109" y="15782"/>
                  </a:cubicBezTo>
                  <a:cubicBezTo>
                    <a:pt x="198703" y="26390"/>
                    <a:pt x="211898" y="39068"/>
                    <a:pt x="220177" y="53815"/>
                  </a:cubicBezTo>
                  <a:lnTo>
                    <a:pt x="220177" y="21474"/>
                  </a:lnTo>
                  <a:cubicBezTo>
                    <a:pt x="220177" y="17076"/>
                    <a:pt x="221729" y="13454"/>
                    <a:pt x="224575" y="10349"/>
                  </a:cubicBezTo>
                  <a:cubicBezTo>
                    <a:pt x="227421" y="7244"/>
                    <a:pt x="231043" y="5692"/>
                    <a:pt x="235442" y="5692"/>
                  </a:cubicBezTo>
                  <a:cubicBezTo>
                    <a:pt x="239581" y="5692"/>
                    <a:pt x="243204" y="7244"/>
                    <a:pt x="246050" y="10090"/>
                  </a:cubicBezTo>
                  <a:close/>
                  <a:moveTo>
                    <a:pt x="175417" y="227162"/>
                  </a:moveTo>
                  <a:cubicBezTo>
                    <a:pt x="190165" y="218366"/>
                    <a:pt x="201549" y="205688"/>
                    <a:pt x="209828" y="189388"/>
                  </a:cubicBezTo>
                  <a:cubicBezTo>
                    <a:pt x="218107" y="173088"/>
                    <a:pt x="222247" y="154719"/>
                    <a:pt x="222247" y="134021"/>
                  </a:cubicBezTo>
                  <a:cubicBezTo>
                    <a:pt x="222247" y="113581"/>
                    <a:pt x="218107" y="95212"/>
                    <a:pt x="209828" y="78912"/>
                  </a:cubicBezTo>
                  <a:cubicBezTo>
                    <a:pt x="201549" y="62871"/>
                    <a:pt x="190165" y="50193"/>
                    <a:pt x="175417" y="41396"/>
                  </a:cubicBezTo>
                  <a:cubicBezTo>
                    <a:pt x="160670" y="32600"/>
                    <a:pt x="144111" y="27943"/>
                    <a:pt x="125741" y="27943"/>
                  </a:cubicBezTo>
                  <a:cubicBezTo>
                    <a:pt x="107631" y="27943"/>
                    <a:pt x="91072" y="32600"/>
                    <a:pt x="76583" y="41914"/>
                  </a:cubicBezTo>
                  <a:cubicBezTo>
                    <a:pt x="61836" y="51228"/>
                    <a:pt x="50452" y="63906"/>
                    <a:pt x="42173" y="79947"/>
                  </a:cubicBezTo>
                  <a:cubicBezTo>
                    <a:pt x="33893" y="95988"/>
                    <a:pt x="29754" y="114099"/>
                    <a:pt x="29754" y="134021"/>
                  </a:cubicBezTo>
                  <a:cubicBezTo>
                    <a:pt x="29754" y="154201"/>
                    <a:pt x="33893" y="172312"/>
                    <a:pt x="42173" y="188612"/>
                  </a:cubicBezTo>
                  <a:cubicBezTo>
                    <a:pt x="50452" y="204653"/>
                    <a:pt x="61836" y="217590"/>
                    <a:pt x="76583" y="226645"/>
                  </a:cubicBezTo>
                  <a:cubicBezTo>
                    <a:pt x="91331" y="235959"/>
                    <a:pt x="107631" y="240616"/>
                    <a:pt x="125741" y="240616"/>
                  </a:cubicBezTo>
                  <a:cubicBezTo>
                    <a:pt x="144111" y="240616"/>
                    <a:pt x="160670" y="236218"/>
                    <a:pt x="175417" y="227162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A106D5D-D3A8-9FA4-6270-3C81913D45F6}"/>
                </a:ext>
              </a:extLst>
            </p:cNvPr>
            <p:cNvSpPr/>
            <p:nvPr/>
          </p:nvSpPr>
          <p:spPr>
            <a:xfrm>
              <a:off x="2337752" y="3986902"/>
              <a:ext cx="30529" cy="373860"/>
            </a:xfrm>
            <a:custGeom>
              <a:avLst/>
              <a:gdLst>
                <a:gd name="connsiteX0" fmla="*/ 26131 w 30529"/>
                <a:gd name="connsiteY0" fmla="*/ 369462 h 373860"/>
                <a:gd name="connsiteX1" fmla="*/ 15265 w 30529"/>
                <a:gd name="connsiteY1" fmla="*/ 373861 h 373860"/>
                <a:gd name="connsiteX2" fmla="*/ 4398 w 30529"/>
                <a:gd name="connsiteY2" fmla="*/ 369462 h 373860"/>
                <a:gd name="connsiteX3" fmla="*/ 0 w 30529"/>
                <a:gd name="connsiteY3" fmla="*/ 358596 h 373860"/>
                <a:gd name="connsiteX4" fmla="*/ 0 w 30529"/>
                <a:gd name="connsiteY4" fmla="*/ 15265 h 373860"/>
                <a:gd name="connsiteX5" fmla="*/ 4398 w 30529"/>
                <a:gd name="connsiteY5" fmla="*/ 4398 h 373860"/>
                <a:gd name="connsiteX6" fmla="*/ 15265 w 30529"/>
                <a:gd name="connsiteY6" fmla="*/ 0 h 373860"/>
                <a:gd name="connsiteX7" fmla="*/ 26131 w 30529"/>
                <a:gd name="connsiteY7" fmla="*/ 4398 h 373860"/>
                <a:gd name="connsiteX8" fmla="*/ 30530 w 30529"/>
                <a:gd name="connsiteY8" fmla="*/ 15265 h 373860"/>
                <a:gd name="connsiteX9" fmla="*/ 30530 w 30529"/>
                <a:gd name="connsiteY9" fmla="*/ 358855 h 373860"/>
                <a:gd name="connsiteX10" fmla="*/ 26131 w 30529"/>
                <a:gd name="connsiteY10" fmla="*/ 369462 h 373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529" h="373860">
                  <a:moveTo>
                    <a:pt x="26131" y="369462"/>
                  </a:moveTo>
                  <a:cubicBezTo>
                    <a:pt x="23285" y="372308"/>
                    <a:pt x="19663" y="373861"/>
                    <a:pt x="15265" y="373861"/>
                  </a:cubicBezTo>
                  <a:cubicBezTo>
                    <a:pt x="10867" y="373861"/>
                    <a:pt x="7244" y="372308"/>
                    <a:pt x="4398" y="369462"/>
                  </a:cubicBezTo>
                  <a:cubicBezTo>
                    <a:pt x="1552" y="366616"/>
                    <a:pt x="0" y="362994"/>
                    <a:pt x="0" y="358596"/>
                  </a:cubicBezTo>
                  <a:lnTo>
                    <a:pt x="0" y="15265"/>
                  </a:lnTo>
                  <a:cubicBezTo>
                    <a:pt x="0" y="10867"/>
                    <a:pt x="1552" y="7244"/>
                    <a:pt x="4398" y="4398"/>
                  </a:cubicBezTo>
                  <a:cubicBezTo>
                    <a:pt x="7244" y="1552"/>
                    <a:pt x="10867" y="0"/>
                    <a:pt x="15265" y="0"/>
                  </a:cubicBezTo>
                  <a:cubicBezTo>
                    <a:pt x="19663" y="0"/>
                    <a:pt x="23285" y="1552"/>
                    <a:pt x="26131" y="4398"/>
                  </a:cubicBezTo>
                  <a:cubicBezTo>
                    <a:pt x="28977" y="7244"/>
                    <a:pt x="30530" y="10867"/>
                    <a:pt x="30530" y="15265"/>
                  </a:cubicBezTo>
                  <a:lnTo>
                    <a:pt x="30530" y="358855"/>
                  </a:lnTo>
                  <a:cubicBezTo>
                    <a:pt x="30530" y="362994"/>
                    <a:pt x="28977" y="366616"/>
                    <a:pt x="26131" y="369462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50E8791-9534-B78A-9C11-CDEF6CC67362}"/>
                </a:ext>
              </a:extLst>
            </p:cNvPr>
            <p:cNvSpPr/>
            <p:nvPr/>
          </p:nvSpPr>
          <p:spPr>
            <a:xfrm>
              <a:off x="2433999" y="4096602"/>
              <a:ext cx="242168" cy="269334"/>
            </a:xfrm>
            <a:custGeom>
              <a:avLst/>
              <a:gdLst>
                <a:gd name="connsiteX0" fmla="*/ 237770 w 242168"/>
                <a:gd name="connsiteY0" fmla="*/ 10608 h 269334"/>
                <a:gd name="connsiteX1" fmla="*/ 242169 w 242168"/>
                <a:gd name="connsiteY1" fmla="*/ 21733 h 269334"/>
                <a:gd name="connsiteX2" fmla="*/ 242169 w 242168"/>
                <a:gd name="connsiteY2" fmla="*/ 249154 h 269334"/>
                <a:gd name="connsiteX3" fmla="*/ 237770 w 242168"/>
                <a:gd name="connsiteY3" fmla="*/ 260021 h 269334"/>
                <a:gd name="connsiteX4" fmla="*/ 226904 w 242168"/>
                <a:gd name="connsiteY4" fmla="*/ 264419 h 269334"/>
                <a:gd name="connsiteX5" fmla="*/ 216037 w 242168"/>
                <a:gd name="connsiteY5" fmla="*/ 260021 h 269334"/>
                <a:gd name="connsiteX6" fmla="*/ 211639 w 242168"/>
                <a:gd name="connsiteY6" fmla="*/ 249154 h 269334"/>
                <a:gd name="connsiteX7" fmla="*/ 211639 w 242168"/>
                <a:gd name="connsiteY7" fmla="*/ 215261 h 269334"/>
                <a:gd name="connsiteX8" fmla="*/ 173865 w 242168"/>
                <a:gd name="connsiteY8" fmla="*/ 253553 h 269334"/>
                <a:gd name="connsiteX9" fmla="*/ 118756 w 242168"/>
                <a:gd name="connsiteY9" fmla="*/ 269335 h 269334"/>
                <a:gd name="connsiteX10" fmla="*/ 57955 w 242168"/>
                <a:gd name="connsiteY10" fmla="*/ 251742 h 269334"/>
                <a:gd name="connsiteX11" fmla="*/ 15524 w 242168"/>
                <a:gd name="connsiteY11" fmla="*/ 203360 h 269334"/>
                <a:gd name="connsiteX12" fmla="*/ 0 w 242168"/>
                <a:gd name="connsiteY12" fmla="*/ 134021 h 269334"/>
                <a:gd name="connsiteX13" fmla="*/ 15782 w 242168"/>
                <a:gd name="connsiteY13" fmla="*/ 64941 h 269334"/>
                <a:gd name="connsiteX14" fmla="*/ 58472 w 242168"/>
                <a:gd name="connsiteY14" fmla="*/ 17076 h 269334"/>
                <a:gd name="connsiteX15" fmla="*/ 118238 w 242168"/>
                <a:gd name="connsiteY15" fmla="*/ 0 h 269334"/>
                <a:gd name="connsiteX16" fmla="*/ 173865 w 242168"/>
                <a:gd name="connsiteY16" fmla="*/ 14747 h 269334"/>
                <a:gd name="connsiteX17" fmla="*/ 211639 w 242168"/>
                <a:gd name="connsiteY17" fmla="*/ 53039 h 269334"/>
                <a:gd name="connsiteX18" fmla="*/ 211639 w 242168"/>
                <a:gd name="connsiteY18" fmla="*/ 21733 h 269334"/>
                <a:gd name="connsiteX19" fmla="*/ 216037 w 242168"/>
                <a:gd name="connsiteY19" fmla="*/ 10608 h 269334"/>
                <a:gd name="connsiteX20" fmla="*/ 226904 w 242168"/>
                <a:gd name="connsiteY20" fmla="*/ 5951 h 269334"/>
                <a:gd name="connsiteX21" fmla="*/ 237770 w 242168"/>
                <a:gd name="connsiteY21" fmla="*/ 10608 h 269334"/>
                <a:gd name="connsiteX22" fmla="*/ 168949 w 242168"/>
                <a:gd name="connsiteY22" fmla="*/ 226904 h 269334"/>
                <a:gd name="connsiteX23" fmla="*/ 201807 w 242168"/>
                <a:gd name="connsiteY23" fmla="*/ 188612 h 269334"/>
                <a:gd name="connsiteX24" fmla="*/ 213709 w 242168"/>
                <a:gd name="connsiteY24" fmla="*/ 133762 h 269334"/>
                <a:gd name="connsiteX25" fmla="*/ 201807 w 242168"/>
                <a:gd name="connsiteY25" fmla="*/ 80205 h 269334"/>
                <a:gd name="connsiteX26" fmla="*/ 168949 w 242168"/>
                <a:gd name="connsiteY26" fmla="*/ 42173 h 269334"/>
                <a:gd name="connsiteX27" fmla="*/ 121602 w 242168"/>
                <a:gd name="connsiteY27" fmla="*/ 28201 h 269334"/>
                <a:gd name="connsiteX28" fmla="*/ 74255 w 242168"/>
                <a:gd name="connsiteY28" fmla="*/ 41914 h 269334"/>
                <a:gd name="connsiteX29" fmla="*/ 41396 w 242168"/>
                <a:gd name="connsiteY29" fmla="*/ 79429 h 269334"/>
                <a:gd name="connsiteX30" fmla="*/ 29495 w 242168"/>
                <a:gd name="connsiteY30" fmla="*/ 133762 h 269334"/>
                <a:gd name="connsiteX31" fmla="*/ 41138 w 242168"/>
                <a:gd name="connsiteY31" fmla="*/ 188612 h 269334"/>
                <a:gd name="connsiteX32" fmla="*/ 73737 w 242168"/>
                <a:gd name="connsiteY32" fmla="*/ 226904 h 269334"/>
                <a:gd name="connsiteX33" fmla="*/ 121602 w 242168"/>
                <a:gd name="connsiteY33" fmla="*/ 240875 h 269334"/>
                <a:gd name="connsiteX34" fmla="*/ 168949 w 242168"/>
                <a:gd name="connsiteY34" fmla="*/ 226904 h 26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42168" h="269334">
                  <a:moveTo>
                    <a:pt x="237770" y="10608"/>
                  </a:moveTo>
                  <a:cubicBezTo>
                    <a:pt x="240616" y="13713"/>
                    <a:pt x="242169" y="17335"/>
                    <a:pt x="242169" y="21733"/>
                  </a:cubicBezTo>
                  <a:lnTo>
                    <a:pt x="242169" y="249154"/>
                  </a:lnTo>
                  <a:cubicBezTo>
                    <a:pt x="242169" y="253553"/>
                    <a:pt x="240616" y="257175"/>
                    <a:pt x="237770" y="260021"/>
                  </a:cubicBezTo>
                  <a:cubicBezTo>
                    <a:pt x="234924" y="262867"/>
                    <a:pt x="231302" y="264419"/>
                    <a:pt x="226904" y="264419"/>
                  </a:cubicBezTo>
                  <a:cubicBezTo>
                    <a:pt x="222505" y="264419"/>
                    <a:pt x="218883" y="262867"/>
                    <a:pt x="216037" y="260021"/>
                  </a:cubicBezTo>
                  <a:cubicBezTo>
                    <a:pt x="213191" y="257175"/>
                    <a:pt x="211639" y="253553"/>
                    <a:pt x="211639" y="249154"/>
                  </a:cubicBezTo>
                  <a:lnTo>
                    <a:pt x="211639" y="215261"/>
                  </a:lnTo>
                  <a:cubicBezTo>
                    <a:pt x="203101" y="230526"/>
                    <a:pt x="190682" y="243204"/>
                    <a:pt x="173865" y="253553"/>
                  </a:cubicBezTo>
                  <a:cubicBezTo>
                    <a:pt x="157047" y="263902"/>
                    <a:pt x="138678" y="269335"/>
                    <a:pt x="118756" y="269335"/>
                  </a:cubicBezTo>
                  <a:cubicBezTo>
                    <a:pt x="96247" y="269335"/>
                    <a:pt x="75807" y="263384"/>
                    <a:pt x="57955" y="251742"/>
                  </a:cubicBezTo>
                  <a:cubicBezTo>
                    <a:pt x="39844" y="239840"/>
                    <a:pt x="25873" y="223799"/>
                    <a:pt x="15524" y="203360"/>
                  </a:cubicBezTo>
                  <a:cubicBezTo>
                    <a:pt x="5175" y="182920"/>
                    <a:pt x="0" y="159635"/>
                    <a:pt x="0" y="134021"/>
                  </a:cubicBezTo>
                  <a:cubicBezTo>
                    <a:pt x="0" y="108407"/>
                    <a:pt x="5175" y="85380"/>
                    <a:pt x="15782" y="64941"/>
                  </a:cubicBezTo>
                  <a:cubicBezTo>
                    <a:pt x="26131" y="44501"/>
                    <a:pt x="40361" y="28719"/>
                    <a:pt x="58472" y="17076"/>
                  </a:cubicBezTo>
                  <a:cubicBezTo>
                    <a:pt x="76583" y="5692"/>
                    <a:pt x="96505" y="0"/>
                    <a:pt x="118238" y="0"/>
                  </a:cubicBezTo>
                  <a:cubicBezTo>
                    <a:pt x="138419" y="0"/>
                    <a:pt x="157047" y="4916"/>
                    <a:pt x="173865" y="14747"/>
                  </a:cubicBezTo>
                  <a:cubicBezTo>
                    <a:pt x="190682" y="24579"/>
                    <a:pt x="203360" y="37257"/>
                    <a:pt x="211639" y="53039"/>
                  </a:cubicBezTo>
                  <a:lnTo>
                    <a:pt x="211639" y="21733"/>
                  </a:lnTo>
                  <a:cubicBezTo>
                    <a:pt x="211639" y="17335"/>
                    <a:pt x="213191" y="13713"/>
                    <a:pt x="216037" y="10608"/>
                  </a:cubicBezTo>
                  <a:cubicBezTo>
                    <a:pt x="218883" y="7503"/>
                    <a:pt x="222505" y="5951"/>
                    <a:pt x="226904" y="5951"/>
                  </a:cubicBezTo>
                  <a:cubicBezTo>
                    <a:pt x="231043" y="5951"/>
                    <a:pt x="234666" y="7503"/>
                    <a:pt x="237770" y="10608"/>
                  </a:cubicBezTo>
                  <a:close/>
                  <a:moveTo>
                    <a:pt x="168949" y="226904"/>
                  </a:moveTo>
                  <a:cubicBezTo>
                    <a:pt x="182920" y="217590"/>
                    <a:pt x="193787" y="204912"/>
                    <a:pt x="201807" y="188612"/>
                  </a:cubicBezTo>
                  <a:cubicBezTo>
                    <a:pt x="209828" y="172312"/>
                    <a:pt x="213709" y="153943"/>
                    <a:pt x="213709" y="133762"/>
                  </a:cubicBezTo>
                  <a:cubicBezTo>
                    <a:pt x="213709" y="114357"/>
                    <a:pt x="209828" y="96246"/>
                    <a:pt x="201807" y="80205"/>
                  </a:cubicBezTo>
                  <a:cubicBezTo>
                    <a:pt x="193787" y="64164"/>
                    <a:pt x="182920" y="51228"/>
                    <a:pt x="168949" y="42173"/>
                  </a:cubicBezTo>
                  <a:cubicBezTo>
                    <a:pt x="154978" y="32858"/>
                    <a:pt x="139195" y="28201"/>
                    <a:pt x="121602" y="28201"/>
                  </a:cubicBezTo>
                  <a:cubicBezTo>
                    <a:pt x="104008" y="28201"/>
                    <a:pt x="88226" y="32858"/>
                    <a:pt x="74255" y="41914"/>
                  </a:cubicBezTo>
                  <a:cubicBezTo>
                    <a:pt x="60283" y="50969"/>
                    <a:pt x="49417" y="63647"/>
                    <a:pt x="41396" y="79429"/>
                  </a:cubicBezTo>
                  <a:cubicBezTo>
                    <a:pt x="33376" y="95470"/>
                    <a:pt x="29495" y="113581"/>
                    <a:pt x="29495" y="133762"/>
                  </a:cubicBezTo>
                  <a:cubicBezTo>
                    <a:pt x="29495" y="153943"/>
                    <a:pt x="33376" y="172312"/>
                    <a:pt x="41138" y="188612"/>
                  </a:cubicBezTo>
                  <a:cubicBezTo>
                    <a:pt x="48899" y="204912"/>
                    <a:pt x="59766" y="217848"/>
                    <a:pt x="73737" y="226904"/>
                  </a:cubicBezTo>
                  <a:cubicBezTo>
                    <a:pt x="87709" y="236218"/>
                    <a:pt x="103750" y="240875"/>
                    <a:pt x="121602" y="240875"/>
                  </a:cubicBezTo>
                  <a:cubicBezTo>
                    <a:pt x="139195" y="240875"/>
                    <a:pt x="154978" y="236218"/>
                    <a:pt x="168949" y="226904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B46585C-EB6E-2C8A-C71A-015B0E789F04}"/>
                </a:ext>
              </a:extLst>
            </p:cNvPr>
            <p:cNvSpPr/>
            <p:nvPr/>
          </p:nvSpPr>
          <p:spPr>
            <a:xfrm>
              <a:off x="2736451" y="4096602"/>
              <a:ext cx="193269" cy="269334"/>
            </a:xfrm>
            <a:custGeom>
              <a:avLst/>
              <a:gdLst>
                <a:gd name="connsiteX0" fmla="*/ 0 w 193269"/>
                <a:gd name="connsiteY0" fmla="*/ 212156 h 269334"/>
                <a:gd name="connsiteX1" fmla="*/ 6468 w 193269"/>
                <a:gd name="connsiteY1" fmla="*/ 202066 h 269334"/>
                <a:gd name="connsiteX2" fmla="*/ 14489 w 193269"/>
                <a:gd name="connsiteY2" fmla="*/ 198961 h 269334"/>
                <a:gd name="connsiteX3" fmla="*/ 25614 w 193269"/>
                <a:gd name="connsiteY3" fmla="*/ 204136 h 269334"/>
                <a:gd name="connsiteX4" fmla="*/ 105043 w 193269"/>
                <a:gd name="connsiteY4" fmla="*/ 243462 h 269334"/>
                <a:gd name="connsiteX5" fmla="*/ 147216 w 193269"/>
                <a:gd name="connsiteY5" fmla="*/ 232078 h 269334"/>
                <a:gd name="connsiteX6" fmla="*/ 165068 w 193269"/>
                <a:gd name="connsiteY6" fmla="*/ 198961 h 269334"/>
                <a:gd name="connsiteX7" fmla="*/ 148509 w 193269"/>
                <a:gd name="connsiteY7" fmla="*/ 167138 h 269334"/>
                <a:gd name="connsiteX8" fmla="*/ 101939 w 193269"/>
                <a:gd name="connsiteY8" fmla="*/ 149027 h 269334"/>
                <a:gd name="connsiteX9" fmla="*/ 36222 w 193269"/>
                <a:gd name="connsiteY9" fmla="*/ 121602 h 269334"/>
                <a:gd name="connsiteX10" fmla="*/ 12419 w 193269"/>
                <a:gd name="connsiteY10" fmla="*/ 71926 h 269334"/>
                <a:gd name="connsiteX11" fmla="*/ 24062 w 193269"/>
                <a:gd name="connsiteY11" fmla="*/ 34669 h 269334"/>
                <a:gd name="connsiteX12" fmla="*/ 55626 w 193269"/>
                <a:gd name="connsiteY12" fmla="*/ 9055 h 269334"/>
                <a:gd name="connsiteX13" fmla="*/ 100904 w 193269"/>
                <a:gd name="connsiteY13" fmla="*/ 0 h 269334"/>
                <a:gd name="connsiteX14" fmla="*/ 144629 w 193269"/>
                <a:gd name="connsiteY14" fmla="*/ 8279 h 269334"/>
                <a:gd name="connsiteX15" fmla="*/ 182144 w 193269"/>
                <a:gd name="connsiteY15" fmla="*/ 34928 h 269334"/>
                <a:gd name="connsiteX16" fmla="*/ 186801 w 193269"/>
                <a:gd name="connsiteY16" fmla="*/ 45019 h 269334"/>
                <a:gd name="connsiteX17" fmla="*/ 181627 w 193269"/>
                <a:gd name="connsiteY17" fmla="*/ 55626 h 269334"/>
                <a:gd name="connsiteX18" fmla="*/ 172571 w 193269"/>
                <a:gd name="connsiteY18" fmla="*/ 58731 h 269334"/>
                <a:gd name="connsiteX19" fmla="*/ 163516 w 193269"/>
                <a:gd name="connsiteY19" fmla="*/ 54591 h 269334"/>
                <a:gd name="connsiteX20" fmla="*/ 134797 w 193269"/>
                <a:gd name="connsiteY20" fmla="*/ 33893 h 269334"/>
                <a:gd name="connsiteX21" fmla="*/ 98834 w 193269"/>
                <a:gd name="connsiteY21" fmla="*/ 26908 h 269334"/>
                <a:gd name="connsiteX22" fmla="*/ 58214 w 193269"/>
                <a:gd name="connsiteY22" fmla="*/ 38033 h 269334"/>
                <a:gd name="connsiteX23" fmla="*/ 41396 w 193269"/>
                <a:gd name="connsiteY23" fmla="*/ 71409 h 269334"/>
                <a:gd name="connsiteX24" fmla="*/ 59766 w 193269"/>
                <a:gd name="connsiteY24" fmla="*/ 102197 h 269334"/>
                <a:gd name="connsiteX25" fmla="*/ 110994 w 193269"/>
                <a:gd name="connsiteY25" fmla="*/ 121343 h 269334"/>
                <a:gd name="connsiteX26" fmla="*/ 154460 w 193269"/>
                <a:gd name="connsiteY26" fmla="*/ 136090 h 269334"/>
                <a:gd name="connsiteX27" fmla="*/ 182403 w 193269"/>
                <a:gd name="connsiteY27" fmla="*/ 158858 h 269334"/>
                <a:gd name="connsiteX28" fmla="*/ 193269 w 193269"/>
                <a:gd name="connsiteY28" fmla="*/ 197668 h 269334"/>
                <a:gd name="connsiteX29" fmla="*/ 166879 w 193269"/>
                <a:gd name="connsiteY29" fmla="*/ 249930 h 269334"/>
                <a:gd name="connsiteX30" fmla="*/ 101680 w 193269"/>
                <a:gd name="connsiteY30" fmla="*/ 269335 h 269334"/>
                <a:gd name="connsiteX31" fmla="*/ 3622 w 193269"/>
                <a:gd name="connsiteY31" fmla="*/ 223282 h 269334"/>
                <a:gd name="connsiteX32" fmla="*/ 0 w 193269"/>
                <a:gd name="connsiteY32" fmla="*/ 212156 h 26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93269" h="269334">
                  <a:moveTo>
                    <a:pt x="0" y="212156"/>
                  </a:moveTo>
                  <a:cubicBezTo>
                    <a:pt x="0" y="207758"/>
                    <a:pt x="2070" y="204394"/>
                    <a:pt x="6468" y="202066"/>
                  </a:cubicBezTo>
                  <a:cubicBezTo>
                    <a:pt x="8538" y="199996"/>
                    <a:pt x="11125" y="198961"/>
                    <a:pt x="14489" y="198961"/>
                  </a:cubicBezTo>
                  <a:cubicBezTo>
                    <a:pt x="18628" y="198961"/>
                    <a:pt x="22251" y="200772"/>
                    <a:pt x="25614" y="204136"/>
                  </a:cubicBezTo>
                  <a:cubicBezTo>
                    <a:pt x="45536" y="230526"/>
                    <a:pt x="71926" y="243462"/>
                    <a:pt x="105043" y="243462"/>
                  </a:cubicBezTo>
                  <a:cubicBezTo>
                    <a:pt x="121084" y="243462"/>
                    <a:pt x="135314" y="239581"/>
                    <a:pt x="147216" y="232078"/>
                  </a:cubicBezTo>
                  <a:cubicBezTo>
                    <a:pt x="159117" y="224575"/>
                    <a:pt x="165068" y="213450"/>
                    <a:pt x="165068" y="198961"/>
                  </a:cubicBezTo>
                  <a:cubicBezTo>
                    <a:pt x="165068" y="184731"/>
                    <a:pt x="159635" y="174123"/>
                    <a:pt x="148509" y="167138"/>
                  </a:cubicBezTo>
                  <a:cubicBezTo>
                    <a:pt x="137384" y="160152"/>
                    <a:pt x="121861" y="153943"/>
                    <a:pt x="101939" y="149027"/>
                  </a:cubicBezTo>
                  <a:cubicBezTo>
                    <a:pt x="73996" y="142041"/>
                    <a:pt x="52004" y="132727"/>
                    <a:pt x="36222" y="121602"/>
                  </a:cubicBezTo>
                  <a:cubicBezTo>
                    <a:pt x="20439" y="110218"/>
                    <a:pt x="12419" y="93659"/>
                    <a:pt x="12419" y="71926"/>
                  </a:cubicBezTo>
                  <a:cubicBezTo>
                    <a:pt x="12419" y="58214"/>
                    <a:pt x="16300" y="45795"/>
                    <a:pt x="24062" y="34669"/>
                  </a:cubicBezTo>
                  <a:cubicBezTo>
                    <a:pt x="31824" y="23803"/>
                    <a:pt x="42431" y="15265"/>
                    <a:pt x="55626" y="9055"/>
                  </a:cubicBezTo>
                  <a:cubicBezTo>
                    <a:pt x="68821" y="3105"/>
                    <a:pt x="84086" y="0"/>
                    <a:pt x="100904" y="0"/>
                  </a:cubicBezTo>
                  <a:cubicBezTo>
                    <a:pt x="115392" y="0"/>
                    <a:pt x="129881" y="2846"/>
                    <a:pt x="144629" y="8279"/>
                  </a:cubicBezTo>
                  <a:cubicBezTo>
                    <a:pt x="159376" y="13713"/>
                    <a:pt x="171795" y="22768"/>
                    <a:pt x="182144" y="34928"/>
                  </a:cubicBezTo>
                  <a:cubicBezTo>
                    <a:pt x="185249" y="37257"/>
                    <a:pt x="186801" y="40620"/>
                    <a:pt x="186801" y="45019"/>
                  </a:cubicBezTo>
                  <a:cubicBezTo>
                    <a:pt x="186801" y="49158"/>
                    <a:pt x="184990" y="52522"/>
                    <a:pt x="181627" y="55626"/>
                  </a:cubicBezTo>
                  <a:cubicBezTo>
                    <a:pt x="179298" y="57696"/>
                    <a:pt x="176193" y="58731"/>
                    <a:pt x="172571" y="58731"/>
                  </a:cubicBezTo>
                  <a:cubicBezTo>
                    <a:pt x="169208" y="58731"/>
                    <a:pt x="166103" y="57437"/>
                    <a:pt x="163516" y="54591"/>
                  </a:cubicBezTo>
                  <a:cubicBezTo>
                    <a:pt x="155495" y="45536"/>
                    <a:pt x="145922" y="38550"/>
                    <a:pt x="134797" y="33893"/>
                  </a:cubicBezTo>
                  <a:cubicBezTo>
                    <a:pt x="123672" y="29236"/>
                    <a:pt x="111770" y="26908"/>
                    <a:pt x="98834" y="26908"/>
                  </a:cubicBezTo>
                  <a:cubicBezTo>
                    <a:pt x="83051" y="26908"/>
                    <a:pt x="69339" y="30530"/>
                    <a:pt x="58214" y="38033"/>
                  </a:cubicBezTo>
                  <a:cubicBezTo>
                    <a:pt x="46830" y="45536"/>
                    <a:pt x="41396" y="56661"/>
                    <a:pt x="41396" y="71409"/>
                  </a:cubicBezTo>
                  <a:cubicBezTo>
                    <a:pt x="42173" y="84862"/>
                    <a:pt x="48123" y="95212"/>
                    <a:pt x="59766" y="102197"/>
                  </a:cubicBezTo>
                  <a:cubicBezTo>
                    <a:pt x="71409" y="109183"/>
                    <a:pt x="88485" y="115651"/>
                    <a:pt x="110994" y="121343"/>
                  </a:cubicBezTo>
                  <a:cubicBezTo>
                    <a:pt x="128588" y="125741"/>
                    <a:pt x="143076" y="130657"/>
                    <a:pt x="154460" y="136090"/>
                  </a:cubicBezTo>
                  <a:cubicBezTo>
                    <a:pt x="165844" y="141524"/>
                    <a:pt x="175158" y="149027"/>
                    <a:pt x="182403" y="158858"/>
                  </a:cubicBezTo>
                  <a:cubicBezTo>
                    <a:pt x="189647" y="168690"/>
                    <a:pt x="193269" y="181626"/>
                    <a:pt x="193269" y="197668"/>
                  </a:cubicBezTo>
                  <a:cubicBezTo>
                    <a:pt x="193269" y="219659"/>
                    <a:pt x="184473" y="236994"/>
                    <a:pt x="166879" y="249930"/>
                  </a:cubicBezTo>
                  <a:cubicBezTo>
                    <a:pt x="149286" y="262867"/>
                    <a:pt x="127553" y="269335"/>
                    <a:pt x="101680" y="269335"/>
                  </a:cubicBezTo>
                  <a:cubicBezTo>
                    <a:pt x="60542" y="269335"/>
                    <a:pt x="27943" y="254070"/>
                    <a:pt x="3622" y="223282"/>
                  </a:cubicBezTo>
                  <a:cubicBezTo>
                    <a:pt x="1552" y="218883"/>
                    <a:pt x="0" y="215261"/>
                    <a:pt x="0" y="212156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461A278-7220-A0C4-A7B9-D137C66EF5E7}"/>
                </a:ext>
              </a:extLst>
            </p:cNvPr>
            <p:cNvSpPr/>
            <p:nvPr/>
          </p:nvSpPr>
          <p:spPr>
            <a:xfrm>
              <a:off x="2973445" y="4096602"/>
              <a:ext cx="193269" cy="269334"/>
            </a:xfrm>
            <a:custGeom>
              <a:avLst/>
              <a:gdLst>
                <a:gd name="connsiteX0" fmla="*/ 0 w 193269"/>
                <a:gd name="connsiteY0" fmla="*/ 212156 h 269334"/>
                <a:gd name="connsiteX1" fmla="*/ 6468 w 193269"/>
                <a:gd name="connsiteY1" fmla="*/ 202066 h 269334"/>
                <a:gd name="connsiteX2" fmla="*/ 14489 w 193269"/>
                <a:gd name="connsiteY2" fmla="*/ 198961 h 269334"/>
                <a:gd name="connsiteX3" fmla="*/ 25614 w 193269"/>
                <a:gd name="connsiteY3" fmla="*/ 204136 h 269334"/>
                <a:gd name="connsiteX4" fmla="*/ 105043 w 193269"/>
                <a:gd name="connsiteY4" fmla="*/ 243462 h 269334"/>
                <a:gd name="connsiteX5" fmla="*/ 147216 w 193269"/>
                <a:gd name="connsiteY5" fmla="*/ 232078 h 269334"/>
                <a:gd name="connsiteX6" fmla="*/ 165068 w 193269"/>
                <a:gd name="connsiteY6" fmla="*/ 198961 h 269334"/>
                <a:gd name="connsiteX7" fmla="*/ 148509 w 193269"/>
                <a:gd name="connsiteY7" fmla="*/ 167138 h 269334"/>
                <a:gd name="connsiteX8" fmla="*/ 101939 w 193269"/>
                <a:gd name="connsiteY8" fmla="*/ 149027 h 269334"/>
                <a:gd name="connsiteX9" fmla="*/ 36222 w 193269"/>
                <a:gd name="connsiteY9" fmla="*/ 121602 h 269334"/>
                <a:gd name="connsiteX10" fmla="*/ 12419 w 193269"/>
                <a:gd name="connsiteY10" fmla="*/ 71926 h 269334"/>
                <a:gd name="connsiteX11" fmla="*/ 24062 w 193269"/>
                <a:gd name="connsiteY11" fmla="*/ 34669 h 269334"/>
                <a:gd name="connsiteX12" fmla="*/ 55626 w 193269"/>
                <a:gd name="connsiteY12" fmla="*/ 9055 h 269334"/>
                <a:gd name="connsiteX13" fmla="*/ 100904 w 193269"/>
                <a:gd name="connsiteY13" fmla="*/ 0 h 269334"/>
                <a:gd name="connsiteX14" fmla="*/ 144629 w 193269"/>
                <a:gd name="connsiteY14" fmla="*/ 8279 h 269334"/>
                <a:gd name="connsiteX15" fmla="*/ 182144 w 193269"/>
                <a:gd name="connsiteY15" fmla="*/ 34928 h 269334"/>
                <a:gd name="connsiteX16" fmla="*/ 186801 w 193269"/>
                <a:gd name="connsiteY16" fmla="*/ 45019 h 269334"/>
                <a:gd name="connsiteX17" fmla="*/ 181627 w 193269"/>
                <a:gd name="connsiteY17" fmla="*/ 55626 h 269334"/>
                <a:gd name="connsiteX18" fmla="*/ 172571 w 193269"/>
                <a:gd name="connsiteY18" fmla="*/ 58731 h 269334"/>
                <a:gd name="connsiteX19" fmla="*/ 163516 w 193269"/>
                <a:gd name="connsiteY19" fmla="*/ 54591 h 269334"/>
                <a:gd name="connsiteX20" fmla="*/ 134797 w 193269"/>
                <a:gd name="connsiteY20" fmla="*/ 33893 h 269334"/>
                <a:gd name="connsiteX21" fmla="*/ 98834 w 193269"/>
                <a:gd name="connsiteY21" fmla="*/ 26908 h 269334"/>
                <a:gd name="connsiteX22" fmla="*/ 58214 w 193269"/>
                <a:gd name="connsiteY22" fmla="*/ 38033 h 269334"/>
                <a:gd name="connsiteX23" fmla="*/ 41396 w 193269"/>
                <a:gd name="connsiteY23" fmla="*/ 71409 h 269334"/>
                <a:gd name="connsiteX24" fmla="*/ 59766 w 193269"/>
                <a:gd name="connsiteY24" fmla="*/ 102197 h 269334"/>
                <a:gd name="connsiteX25" fmla="*/ 110994 w 193269"/>
                <a:gd name="connsiteY25" fmla="*/ 121343 h 269334"/>
                <a:gd name="connsiteX26" fmla="*/ 154460 w 193269"/>
                <a:gd name="connsiteY26" fmla="*/ 136090 h 269334"/>
                <a:gd name="connsiteX27" fmla="*/ 182403 w 193269"/>
                <a:gd name="connsiteY27" fmla="*/ 158858 h 269334"/>
                <a:gd name="connsiteX28" fmla="*/ 193269 w 193269"/>
                <a:gd name="connsiteY28" fmla="*/ 197668 h 269334"/>
                <a:gd name="connsiteX29" fmla="*/ 166879 w 193269"/>
                <a:gd name="connsiteY29" fmla="*/ 249930 h 269334"/>
                <a:gd name="connsiteX30" fmla="*/ 101680 w 193269"/>
                <a:gd name="connsiteY30" fmla="*/ 269335 h 269334"/>
                <a:gd name="connsiteX31" fmla="*/ 3622 w 193269"/>
                <a:gd name="connsiteY31" fmla="*/ 223282 h 269334"/>
                <a:gd name="connsiteX32" fmla="*/ 0 w 193269"/>
                <a:gd name="connsiteY32" fmla="*/ 212156 h 26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93269" h="269334">
                  <a:moveTo>
                    <a:pt x="0" y="212156"/>
                  </a:moveTo>
                  <a:cubicBezTo>
                    <a:pt x="0" y="207758"/>
                    <a:pt x="2070" y="204394"/>
                    <a:pt x="6468" y="202066"/>
                  </a:cubicBezTo>
                  <a:cubicBezTo>
                    <a:pt x="8538" y="199996"/>
                    <a:pt x="11125" y="198961"/>
                    <a:pt x="14489" y="198961"/>
                  </a:cubicBezTo>
                  <a:cubicBezTo>
                    <a:pt x="18628" y="198961"/>
                    <a:pt x="22251" y="200772"/>
                    <a:pt x="25614" y="204136"/>
                  </a:cubicBezTo>
                  <a:cubicBezTo>
                    <a:pt x="45536" y="230526"/>
                    <a:pt x="71926" y="243462"/>
                    <a:pt x="105043" y="243462"/>
                  </a:cubicBezTo>
                  <a:cubicBezTo>
                    <a:pt x="121084" y="243462"/>
                    <a:pt x="135314" y="239581"/>
                    <a:pt x="147216" y="232078"/>
                  </a:cubicBezTo>
                  <a:cubicBezTo>
                    <a:pt x="159117" y="224575"/>
                    <a:pt x="165068" y="213450"/>
                    <a:pt x="165068" y="198961"/>
                  </a:cubicBezTo>
                  <a:cubicBezTo>
                    <a:pt x="165068" y="184731"/>
                    <a:pt x="159635" y="174123"/>
                    <a:pt x="148509" y="167138"/>
                  </a:cubicBezTo>
                  <a:cubicBezTo>
                    <a:pt x="137384" y="160152"/>
                    <a:pt x="121861" y="153943"/>
                    <a:pt x="101939" y="149027"/>
                  </a:cubicBezTo>
                  <a:cubicBezTo>
                    <a:pt x="73996" y="142041"/>
                    <a:pt x="52004" y="132727"/>
                    <a:pt x="36222" y="121602"/>
                  </a:cubicBezTo>
                  <a:cubicBezTo>
                    <a:pt x="20439" y="110218"/>
                    <a:pt x="12419" y="93659"/>
                    <a:pt x="12419" y="71926"/>
                  </a:cubicBezTo>
                  <a:cubicBezTo>
                    <a:pt x="12419" y="58214"/>
                    <a:pt x="16300" y="45795"/>
                    <a:pt x="24062" y="34669"/>
                  </a:cubicBezTo>
                  <a:cubicBezTo>
                    <a:pt x="31823" y="23803"/>
                    <a:pt x="42431" y="15265"/>
                    <a:pt x="55626" y="9055"/>
                  </a:cubicBezTo>
                  <a:cubicBezTo>
                    <a:pt x="68821" y="3105"/>
                    <a:pt x="84086" y="0"/>
                    <a:pt x="100904" y="0"/>
                  </a:cubicBezTo>
                  <a:cubicBezTo>
                    <a:pt x="115392" y="0"/>
                    <a:pt x="129881" y="2846"/>
                    <a:pt x="144629" y="8279"/>
                  </a:cubicBezTo>
                  <a:cubicBezTo>
                    <a:pt x="159376" y="13713"/>
                    <a:pt x="171795" y="22768"/>
                    <a:pt x="182144" y="34928"/>
                  </a:cubicBezTo>
                  <a:cubicBezTo>
                    <a:pt x="185249" y="37257"/>
                    <a:pt x="186801" y="40620"/>
                    <a:pt x="186801" y="45019"/>
                  </a:cubicBezTo>
                  <a:cubicBezTo>
                    <a:pt x="186801" y="49158"/>
                    <a:pt x="184990" y="52522"/>
                    <a:pt x="181627" y="55626"/>
                  </a:cubicBezTo>
                  <a:cubicBezTo>
                    <a:pt x="179298" y="57696"/>
                    <a:pt x="176193" y="58731"/>
                    <a:pt x="172571" y="58731"/>
                  </a:cubicBezTo>
                  <a:cubicBezTo>
                    <a:pt x="169208" y="58731"/>
                    <a:pt x="166103" y="57437"/>
                    <a:pt x="163516" y="54591"/>
                  </a:cubicBezTo>
                  <a:cubicBezTo>
                    <a:pt x="155495" y="45536"/>
                    <a:pt x="145922" y="38550"/>
                    <a:pt x="134797" y="33893"/>
                  </a:cubicBezTo>
                  <a:cubicBezTo>
                    <a:pt x="123672" y="29236"/>
                    <a:pt x="111770" y="26908"/>
                    <a:pt x="98834" y="26908"/>
                  </a:cubicBezTo>
                  <a:cubicBezTo>
                    <a:pt x="83051" y="26908"/>
                    <a:pt x="69339" y="30530"/>
                    <a:pt x="58214" y="38033"/>
                  </a:cubicBezTo>
                  <a:cubicBezTo>
                    <a:pt x="46830" y="45536"/>
                    <a:pt x="41396" y="56661"/>
                    <a:pt x="41396" y="71409"/>
                  </a:cubicBezTo>
                  <a:cubicBezTo>
                    <a:pt x="42173" y="84862"/>
                    <a:pt x="48123" y="95212"/>
                    <a:pt x="59766" y="102197"/>
                  </a:cubicBezTo>
                  <a:cubicBezTo>
                    <a:pt x="71409" y="109183"/>
                    <a:pt x="88485" y="115651"/>
                    <a:pt x="110994" y="121343"/>
                  </a:cubicBezTo>
                  <a:cubicBezTo>
                    <a:pt x="128588" y="125741"/>
                    <a:pt x="143076" y="130657"/>
                    <a:pt x="154460" y="136090"/>
                  </a:cubicBezTo>
                  <a:cubicBezTo>
                    <a:pt x="165844" y="141524"/>
                    <a:pt x="175158" y="149027"/>
                    <a:pt x="182403" y="158858"/>
                  </a:cubicBezTo>
                  <a:cubicBezTo>
                    <a:pt x="189647" y="168690"/>
                    <a:pt x="193269" y="181626"/>
                    <a:pt x="193269" y="197668"/>
                  </a:cubicBezTo>
                  <a:cubicBezTo>
                    <a:pt x="193269" y="219659"/>
                    <a:pt x="184473" y="236994"/>
                    <a:pt x="166879" y="249930"/>
                  </a:cubicBezTo>
                  <a:cubicBezTo>
                    <a:pt x="149286" y="262867"/>
                    <a:pt x="127553" y="269335"/>
                    <a:pt x="101680" y="269335"/>
                  </a:cubicBezTo>
                  <a:cubicBezTo>
                    <a:pt x="60542" y="269335"/>
                    <a:pt x="27943" y="254070"/>
                    <a:pt x="3622" y="223282"/>
                  </a:cubicBezTo>
                  <a:cubicBezTo>
                    <a:pt x="1294" y="218883"/>
                    <a:pt x="0" y="215261"/>
                    <a:pt x="0" y="212156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91E1579-FECF-C3D4-03E3-585910F83681}"/>
                </a:ext>
              </a:extLst>
            </p:cNvPr>
            <p:cNvSpPr/>
            <p:nvPr/>
          </p:nvSpPr>
          <p:spPr>
            <a:xfrm>
              <a:off x="3229068" y="4100733"/>
              <a:ext cx="241651" cy="361450"/>
            </a:xfrm>
            <a:custGeom>
              <a:avLst/>
              <a:gdLst>
                <a:gd name="connsiteX0" fmla="*/ 183438 w 241651"/>
                <a:gd name="connsiteY0" fmla="*/ 16826 h 361450"/>
                <a:gd name="connsiteX1" fmla="*/ 226128 w 241651"/>
                <a:gd name="connsiteY1" fmla="*/ 63914 h 361450"/>
                <a:gd name="connsiteX2" fmla="*/ 241651 w 241651"/>
                <a:gd name="connsiteY2" fmla="*/ 131442 h 361450"/>
                <a:gd name="connsiteX3" fmla="*/ 226128 w 241651"/>
                <a:gd name="connsiteY3" fmla="*/ 199487 h 361450"/>
                <a:gd name="connsiteX4" fmla="*/ 183696 w 241651"/>
                <a:gd name="connsiteY4" fmla="*/ 246834 h 361450"/>
                <a:gd name="connsiteX5" fmla="*/ 123413 w 241651"/>
                <a:gd name="connsiteY5" fmla="*/ 263910 h 361450"/>
                <a:gd name="connsiteX6" fmla="*/ 69598 w 241651"/>
                <a:gd name="connsiteY6" fmla="*/ 249939 h 361450"/>
                <a:gd name="connsiteX7" fmla="*/ 30530 w 241651"/>
                <a:gd name="connsiteY7" fmla="*/ 212682 h 361450"/>
                <a:gd name="connsiteX8" fmla="*/ 30530 w 241651"/>
                <a:gd name="connsiteY8" fmla="*/ 346185 h 361450"/>
                <a:gd name="connsiteX9" fmla="*/ 26131 w 241651"/>
                <a:gd name="connsiteY9" fmla="*/ 357052 h 361450"/>
                <a:gd name="connsiteX10" fmla="*/ 15265 w 241651"/>
                <a:gd name="connsiteY10" fmla="*/ 361450 h 361450"/>
                <a:gd name="connsiteX11" fmla="*/ 4398 w 241651"/>
                <a:gd name="connsiteY11" fmla="*/ 357052 h 361450"/>
                <a:gd name="connsiteX12" fmla="*/ 0 w 241651"/>
                <a:gd name="connsiteY12" fmla="*/ 346185 h 361450"/>
                <a:gd name="connsiteX13" fmla="*/ 0 w 241651"/>
                <a:gd name="connsiteY13" fmla="*/ 16567 h 361450"/>
                <a:gd name="connsiteX14" fmla="*/ 4398 w 241651"/>
                <a:gd name="connsiteY14" fmla="*/ 5442 h 361450"/>
                <a:gd name="connsiteX15" fmla="*/ 15265 w 241651"/>
                <a:gd name="connsiteY15" fmla="*/ 785 h 361450"/>
                <a:gd name="connsiteX16" fmla="*/ 26131 w 241651"/>
                <a:gd name="connsiteY16" fmla="*/ 5442 h 361450"/>
                <a:gd name="connsiteX17" fmla="*/ 30530 w 241651"/>
                <a:gd name="connsiteY17" fmla="*/ 16567 h 361450"/>
                <a:gd name="connsiteX18" fmla="*/ 30530 w 241651"/>
                <a:gd name="connsiteY18" fmla="*/ 50978 h 361450"/>
                <a:gd name="connsiteX19" fmla="*/ 68304 w 241651"/>
                <a:gd name="connsiteY19" fmla="*/ 13721 h 361450"/>
                <a:gd name="connsiteX20" fmla="*/ 122895 w 241651"/>
                <a:gd name="connsiteY20" fmla="*/ 8 h 361450"/>
                <a:gd name="connsiteX21" fmla="*/ 183438 w 241651"/>
                <a:gd name="connsiteY21" fmla="*/ 16826 h 361450"/>
                <a:gd name="connsiteX22" fmla="*/ 167655 w 241651"/>
                <a:gd name="connsiteY22" fmla="*/ 221996 h 361450"/>
                <a:gd name="connsiteX23" fmla="*/ 200514 w 241651"/>
                <a:gd name="connsiteY23" fmla="*/ 184740 h 361450"/>
                <a:gd name="connsiteX24" fmla="*/ 212415 w 241651"/>
                <a:gd name="connsiteY24" fmla="*/ 131183 h 361450"/>
                <a:gd name="connsiteX25" fmla="*/ 200514 w 241651"/>
                <a:gd name="connsiteY25" fmla="*/ 78403 h 361450"/>
                <a:gd name="connsiteX26" fmla="*/ 167655 w 241651"/>
                <a:gd name="connsiteY26" fmla="*/ 41405 h 361450"/>
                <a:gd name="connsiteX27" fmla="*/ 120308 w 241651"/>
                <a:gd name="connsiteY27" fmla="*/ 27951 h 361450"/>
                <a:gd name="connsiteX28" fmla="*/ 72185 w 241651"/>
                <a:gd name="connsiteY28" fmla="*/ 41146 h 361450"/>
                <a:gd name="connsiteX29" fmla="*/ 39327 w 241651"/>
                <a:gd name="connsiteY29" fmla="*/ 77885 h 361450"/>
                <a:gd name="connsiteX30" fmla="*/ 27684 w 241651"/>
                <a:gd name="connsiteY30" fmla="*/ 131183 h 361450"/>
                <a:gd name="connsiteX31" fmla="*/ 39327 w 241651"/>
                <a:gd name="connsiteY31" fmla="*/ 184740 h 361450"/>
                <a:gd name="connsiteX32" fmla="*/ 72185 w 241651"/>
                <a:gd name="connsiteY32" fmla="*/ 221996 h 361450"/>
                <a:gd name="connsiteX33" fmla="*/ 120308 w 241651"/>
                <a:gd name="connsiteY33" fmla="*/ 235450 h 361450"/>
                <a:gd name="connsiteX34" fmla="*/ 167655 w 241651"/>
                <a:gd name="connsiteY34" fmla="*/ 221996 h 36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41651" h="361450">
                  <a:moveTo>
                    <a:pt x="183438" y="16826"/>
                  </a:moveTo>
                  <a:cubicBezTo>
                    <a:pt x="201549" y="28210"/>
                    <a:pt x="215779" y="43733"/>
                    <a:pt x="226128" y="63914"/>
                  </a:cubicBezTo>
                  <a:cubicBezTo>
                    <a:pt x="236477" y="83836"/>
                    <a:pt x="241651" y="106345"/>
                    <a:pt x="241651" y="131442"/>
                  </a:cubicBezTo>
                  <a:cubicBezTo>
                    <a:pt x="241651" y="156797"/>
                    <a:pt x="236477" y="179306"/>
                    <a:pt x="226128" y="199487"/>
                  </a:cubicBezTo>
                  <a:cubicBezTo>
                    <a:pt x="215779" y="219409"/>
                    <a:pt x="201807" y="235191"/>
                    <a:pt x="183696" y="246834"/>
                  </a:cubicBezTo>
                  <a:cubicBezTo>
                    <a:pt x="165585" y="258218"/>
                    <a:pt x="145663" y="263910"/>
                    <a:pt x="123413" y="263910"/>
                  </a:cubicBezTo>
                  <a:cubicBezTo>
                    <a:pt x="103750" y="263910"/>
                    <a:pt x="85897" y="259253"/>
                    <a:pt x="69598" y="249939"/>
                  </a:cubicBezTo>
                  <a:cubicBezTo>
                    <a:pt x="53298" y="240625"/>
                    <a:pt x="40103" y="228206"/>
                    <a:pt x="30530" y="212682"/>
                  </a:cubicBezTo>
                  <a:lnTo>
                    <a:pt x="30530" y="346185"/>
                  </a:lnTo>
                  <a:cubicBezTo>
                    <a:pt x="30530" y="350584"/>
                    <a:pt x="28977" y="354206"/>
                    <a:pt x="26131" y="357052"/>
                  </a:cubicBezTo>
                  <a:cubicBezTo>
                    <a:pt x="23285" y="359898"/>
                    <a:pt x="19663" y="361450"/>
                    <a:pt x="15265" y="361450"/>
                  </a:cubicBezTo>
                  <a:cubicBezTo>
                    <a:pt x="10867" y="361450"/>
                    <a:pt x="7244" y="359898"/>
                    <a:pt x="4398" y="357052"/>
                  </a:cubicBezTo>
                  <a:cubicBezTo>
                    <a:pt x="1552" y="354206"/>
                    <a:pt x="0" y="350584"/>
                    <a:pt x="0" y="346185"/>
                  </a:cubicBezTo>
                  <a:lnTo>
                    <a:pt x="0" y="16567"/>
                  </a:lnTo>
                  <a:cubicBezTo>
                    <a:pt x="0" y="12169"/>
                    <a:pt x="1552" y="8546"/>
                    <a:pt x="4398" y="5442"/>
                  </a:cubicBezTo>
                  <a:cubicBezTo>
                    <a:pt x="7244" y="2337"/>
                    <a:pt x="10867" y="785"/>
                    <a:pt x="15265" y="785"/>
                  </a:cubicBezTo>
                  <a:cubicBezTo>
                    <a:pt x="19663" y="785"/>
                    <a:pt x="23285" y="2337"/>
                    <a:pt x="26131" y="5442"/>
                  </a:cubicBezTo>
                  <a:cubicBezTo>
                    <a:pt x="28977" y="8546"/>
                    <a:pt x="30530" y="12169"/>
                    <a:pt x="30530" y="16567"/>
                  </a:cubicBezTo>
                  <a:lnTo>
                    <a:pt x="30530" y="50978"/>
                  </a:lnTo>
                  <a:cubicBezTo>
                    <a:pt x="39327" y="35195"/>
                    <a:pt x="52004" y="22776"/>
                    <a:pt x="68304" y="13721"/>
                  </a:cubicBezTo>
                  <a:cubicBezTo>
                    <a:pt x="84863" y="4666"/>
                    <a:pt x="102973" y="8"/>
                    <a:pt x="122895" y="8"/>
                  </a:cubicBezTo>
                  <a:cubicBezTo>
                    <a:pt x="145146" y="-250"/>
                    <a:pt x="165327" y="5442"/>
                    <a:pt x="183438" y="16826"/>
                  </a:cubicBezTo>
                  <a:close/>
                  <a:moveTo>
                    <a:pt x="167655" y="221996"/>
                  </a:moveTo>
                  <a:cubicBezTo>
                    <a:pt x="181627" y="213200"/>
                    <a:pt x="192493" y="200781"/>
                    <a:pt x="200514" y="184740"/>
                  </a:cubicBezTo>
                  <a:cubicBezTo>
                    <a:pt x="208534" y="168957"/>
                    <a:pt x="212415" y="151105"/>
                    <a:pt x="212415" y="131183"/>
                  </a:cubicBezTo>
                  <a:cubicBezTo>
                    <a:pt x="212415" y="111779"/>
                    <a:pt x="208534" y="93926"/>
                    <a:pt x="200514" y="78403"/>
                  </a:cubicBezTo>
                  <a:cubicBezTo>
                    <a:pt x="192493" y="62620"/>
                    <a:pt x="181627" y="50460"/>
                    <a:pt x="167655" y="41405"/>
                  </a:cubicBezTo>
                  <a:cubicBezTo>
                    <a:pt x="153684" y="32608"/>
                    <a:pt x="137902" y="27951"/>
                    <a:pt x="120308" y="27951"/>
                  </a:cubicBezTo>
                  <a:cubicBezTo>
                    <a:pt x="102456" y="27951"/>
                    <a:pt x="86415" y="32349"/>
                    <a:pt x="72185" y="41146"/>
                  </a:cubicBezTo>
                  <a:cubicBezTo>
                    <a:pt x="57955" y="49943"/>
                    <a:pt x="47088" y="62103"/>
                    <a:pt x="39327" y="77885"/>
                  </a:cubicBezTo>
                  <a:cubicBezTo>
                    <a:pt x="31565" y="93668"/>
                    <a:pt x="27684" y="111261"/>
                    <a:pt x="27684" y="131183"/>
                  </a:cubicBezTo>
                  <a:cubicBezTo>
                    <a:pt x="27684" y="151105"/>
                    <a:pt x="31565" y="168957"/>
                    <a:pt x="39327" y="184740"/>
                  </a:cubicBezTo>
                  <a:cubicBezTo>
                    <a:pt x="47088" y="200522"/>
                    <a:pt x="57955" y="212941"/>
                    <a:pt x="72185" y="221996"/>
                  </a:cubicBezTo>
                  <a:cubicBezTo>
                    <a:pt x="86415" y="230793"/>
                    <a:pt x="102197" y="235450"/>
                    <a:pt x="120308" y="235450"/>
                  </a:cubicBezTo>
                  <a:cubicBezTo>
                    <a:pt x="137902" y="235191"/>
                    <a:pt x="153684" y="230793"/>
                    <a:pt x="167655" y="221996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7039A09-7E16-0EFB-4B0D-6BD8F886D9FA}"/>
                </a:ext>
              </a:extLst>
            </p:cNvPr>
            <p:cNvSpPr/>
            <p:nvPr/>
          </p:nvSpPr>
          <p:spPr>
            <a:xfrm>
              <a:off x="3515997" y="4096602"/>
              <a:ext cx="242168" cy="269334"/>
            </a:xfrm>
            <a:custGeom>
              <a:avLst/>
              <a:gdLst>
                <a:gd name="connsiteX0" fmla="*/ 237770 w 242168"/>
                <a:gd name="connsiteY0" fmla="*/ 10608 h 269334"/>
                <a:gd name="connsiteX1" fmla="*/ 242169 w 242168"/>
                <a:gd name="connsiteY1" fmla="*/ 21733 h 269334"/>
                <a:gd name="connsiteX2" fmla="*/ 242169 w 242168"/>
                <a:gd name="connsiteY2" fmla="*/ 249154 h 269334"/>
                <a:gd name="connsiteX3" fmla="*/ 237770 w 242168"/>
                <a:gd name="connsiteY3" fmla="*/ 260021 h 269334"/>
                <a:gd name="connsiteX4" fmla="*/ 226904 w 242168"/>
                <a:gd name="connsiteY4" fmla="*/ 264419 h 269334"/>
                <a:gd name="connsiteX5" fmla="*/ 216037 w 242168"/>
                <a:gd name="connsiteY5" fmla="*/ 260021 h 269334"/>
                <a:gd name="connsiteX6" fmla="*/ 211639 w 242168"/>
                <a:gd name="connsiteY6" fmla="*/ 249154 h 269334"/>
                <a:gd name="connsiteX7" fmla="*/ 211639 w 242168"/>
                <a:gd name="connsiteY7" fmla="*/ 215261 h 269334"/>
                <a:gd name="connsiteX8" fmla="*/ 173865 w 242168"/>
                <a:gd name="connsiteY8" fmla="*/ 253553 h 269334"/>
                <a:gd name="connsiteX9" fmla="*/ 118756 w 242168"/>
                <a:gd name="connsiteY9" fmla="*/ 269335 h 269334"/>
                <a:gd name="connsiteX10" fmla="*/ 57955 w 242168"/>
                <a:gd name="connsiteY10" fmla="*/ 251742 h 269334"/>
                <a:gd name="connsiteX11" fmla="*/ 15524 w 242168"/>
                <a:gd name="connsiteY11" fmla="*/ 203360 h 269334"/>
                <a:gd name="connsiteX12" fmla="*/ 0 w 242168"/>
                <a:gd name="connsiteY12" fmla="*/ 134021 h 269334"/>
                <a:gd name="connsiteX13" fmla="*/ 15782 w 242168"/>
                <a:gd name="connsiteY13" fmla="*/ 64941 h 269334"/>
                <a:gd name="connsiteX14" fmla="*/ 58472 w 242168"/>
                <a:gd name="connsiteY14" fmla="*/ 17076 h 269334"/>
                <a:gd name="connsiteX15" fmla="*/ 118238 w 242168"/>
                <a:gd name="connsiteY15" fmla="*/ 0 h 269334"/>
                <a:gd name="connsiteX16" fmla="*/ 173865 w 242168"/>
                <a:gd name="connsiteY16" fmla="*/ 14747 h 269334"/>
                <a:gd name="connsiteX17" fmla="*/ 211639 w 242168"/>
                <a:gd name="connsiteY17" fmla="*/ 53039 h 269334"/>
                <a:gd name="connsiteX18" fmla="*/ 211639 w 242168"/>
                <a:gd name="connsiteY18" fmla="*/ 21733 h 269334"/>
                <a:gd name="connsiteX19" fmla="*/ 216037 w 242168"/>
                <a:gd name="connsiteY19" fmla="*/ 10608 h 269334"/>
                <a:gd name="connsiteX20" fmla="*/ 226904 w 242168"/>
                <a:gd name="connsiteY20" fmla="*/ 5951 h 269334"/>
                <a:gd name="connsiteX21" fmla="*/ 237770 w 242168"/>
                <a:gd name="connsiteY21" fmla="*/ 10608 h 269334"/>
                <a:gd name="connsiteX22" fmla="*/ 169208 w 242168"/>
                <a:gd name="connsiteY22" fmla="*/ 226904 h 269334"/>
                <a:gd name="connsiteX23" fmla="*/ 202066 w 242168"/>
                <a:gd name="connsiteY23" fmla="*/ 188612 h 269334"/>
                <a:gd name="connsiteX24" fmla="*/ 213968 w 242168"/>
                <a:gd name="connsiteY24" fmla="*/ 133762 h 269334"/>
                <a:gd name="connsiteX25" fmla="*/ 202066 w 242168"/>
                <a:gd name="connsiteY25" fmla="*/ 80205 h 269334"/>
                <a:gd name="connsiteX26" fmla="*/ 169208 w 242168"/>
                <a:gd name="connsiteY26" fmla="*/ 42173 h 269334"/>
                <a:gd name="connsiteX27" fmla="*/ 121860 w 242168"/>
                <a:gd name="connsiteY27" fmla="*/ 28201 h 269334"/>
                <a:gd name="connsiteX28" fmla="*/ 74513 w 242168"/>
                <a:gd name="connsiteY28" fmla="*/ 41914 h 269334"/>
                <a:gd name="connsiteX29" fmla="*/ 41655 w 242168"/>
                <a:gd name="connsiteY29" fmla="*/ 79429 h 269334"/>
                <a:gd name="connsiteX30" fmla="*/ 29754 w 242168"/>
                <a:gd name="connsiteY30" fmla="*/ 133762 h 269334"/>
                <a:gd name="connsiteX31" fmla="*/ 41396 w 242168"/>
                <a:gd name="connsiteY31" fmla="*/ 188612 h 269334"/>
                <a:gd name="connsiteX32" fmla="*/ 73996 w 242168"/>
                <a:gd name="connsiteY32" fmla="*/ 226904 h 269334"/>
                <a:gd name="connsiteX33" fmla="*/ 121860 w 242168"/>
                <a:gd name="connsiteY33" fmla="*/ 240875 h 269334"/>
                <a:gd name="connsiteX34" fmla="*/ 169208 w 242168"/>
                <a:gd name="connsiteY34" fmla="*/ 226904 h 26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42168" h="269334">
                  <a:moveTo>
                    <a:pt x="237770" y="10608"/>
                  </a:moveTo>
                  <a:cubicBezTo>
                    <a:pt x="240616" y="13713"/>
                    <a:pt x="242169" y="17335"/>
                    <a:pt x="242169" y="21733"/>
                  </a:cubicBezTo>
                  <a:lnTo>
                    <a:pt x="242169" y="249154"/>
                  </a:lnTo>
                  <a:cubicBezTo>
                    <a:pt x="242169" y="253553"/>
                    <a:pt x="240616" y="257175"/>
                    <a:pt x="237770" y="260021"/>
                  </a:cubicBezTo>
                  <a:cubicBezTo>
                    <a:pt x="234924" y="262867"/>
                    <a:pt x="231302" y="264419"/>
                    <a:pt x="226904" y="264419"/>
                  </a:cubicBezTo>
                  <a:cubicBezTo>
                    <a:pt x="222505" y="264419"/>
                    <a:pt x="218883" y="262867"/>
                    <a:pt x="216037" y="260021"/>
                  </a:cubicBezTo>
                  <a:cubicBezTo>
                    <a:pt x="213191" y="257175"/>
                    <a:pt x="211639" y="253553"/>
                    <a:pt x="211639" y="249154"/>
                  </a:cubicBezTo>
                  <a:lnTo>
                    <a:pt x="211639" y="215261"/>
                  </a:lnTo>
                  <a:cubicBezTo>
                    <a:pt x="203101" y="230526"/>
                    <a:pt x="190682" y="243204"/>
                    <a:pt x="173865" y="253553"/>
                  </a:cubicBezTo>
                  <a:cubicBezTo>
                    <a:pt x="157048" y="263902"/>
                    <a:pt x="138678" y="269335"/>
                    <a:pt x="118756" y="269335"/>
                  </a:cubicBezTo>
                  <a:cubicBezTo>
                    <a:pt x="96247" y="269335"/>
                    <a:pt x="75807" y="263384"/>
                    <a:pt x="57955" y="251742"/>
                  </a:cubicBezTo>
                  <a:cubicBezTo>
                    <a:pt x="39844" y="239840"/>
                    <a:pt x="25873" y="223799"/>
                    <a:pt x="15524" y="203360"/>
                  </a:cubicBezTo>
                  <a:cubicBezTo>
                    <a:pt x="5175" y="182920"/>
                    <a:pt x="0" y="159635"/>
                    <a:pt x="0" y="134021"/>
                  </a:cubicBezTo>
                  <a:cubicBezTo>
                    <a:pt x="0" y="108407"/>
                    <a:pt x="5175" y="85380"/>
                    <a:pt x="15782" y="64941"/>
                  </a:cubicBezTo>
                  <a:cubicBezTo>
                    <a:pt x="26131" y="44501"/>
                    <a:pt x="40361" y="28719"/>
                    <a:pt x="58472" y="17076"/>
                  </a:cubicBezTo>
                  <a:cubicBezTo>
                    <a:pt x="76583" y="5692"/>
                    <a:pt x="96505" y="0"/>
                    <a:pt x="118238" y="0"/>
                  </a:cubicBezTo>
                  <a:cubicBezTo>
                    <a:pt x="138419" y="0"/>
                    <a:pt x="157048" y="4916"/>
                    <a:pt x="173865" y="14747"/>
                  </a:cubicBezTo>
                  <a:cubicBezTo>
                    <a:pt x="190682" y="24579"/>
                    <a:pt x="203360" y="37257"/>
                    <a:pt x="211639" y="53039"/>
                  </a:cubicBezTo>
                  <a:lnTo>
                    <a:pt x="211639" y="21733"/>
                  </a:lnTo>
                  <a:cubicBezTo>
                    <a:pt x="211639" y="17335"/>
                    <a:pt x="213191" y="13713"/>
                    <a:pt x="216037" y="10608"/>
                  </a:cubicBezTo>
                  <a:cubicBezTo>
                    <a:pt x="218883" y="7503"/>
                    <a:pt x="222505" y="5951"/>
                    <a:pt x="226904" y="5951"/>
                  </a:cubicBezTo>
                  <a:cubicBezTo>
                    <a:pt x="231302" y="5951"/>
                    <a:pt x="234924" y="7503"/>
                    <a:pt x="237770" y="10608"/>
                  </a:cubicBezTo>
                  <a:close/>
                  <a:moveTo>
                    <a:pt x="169208" y="226904"/>
                  </a:moveTo>
                  <a:cubicBezTo>
                    <a:pt x="183179" y="217590"/>
                    <a:pt x="194045" y="204912"/>
                    <a:pt x="202066" y="188612"/>
                  </a:cubicBezTo>
                  <a:cubicBezTo>
                    <a:pt x="210087" y="172312"/>
                    <a:pt x="213968" y="153943"/>
                    <a:pt x="213968" y="133762"/>
                  </a:cubicBezTo>
                  <a:cubicBezTo>
                    <a:pt x="213968" y="114357"/>
                    <a:pt x="210087" y="96246"/>
                    <a:pt x="202066" y="80205"/>
                  </a:cubicBezTo>
                  <a:cubicBezTo>
                    <a:pt x="194045" y="64164"/>
                    <a:pt x="183179" y="51228"/>
                    <a:pt x="169208" y="42173"/>
                  </a:cubicBezTo>
                  <a:cubicBezTo>
                    <a:pt x="155236" y="32858"/>
                    <a:pt x="139454" y="28201"/>
                    <a:pt x="121860" y="28201"/>
                  </a:cubicBezTo>
                  <a:cubicBezTo>
                    <a:pt x="104267" y="28201"/>
                    <a:pt x="88485" y="32858"/>
                    <a:pt x="74513" y="41914"/>
                  </a:cubicBezTo>
                  <a:cubicBezTo>
                    <a:pt x="60542" y="50969"/>
                    <a:pt x="49676" y="63647"/>
                    <a:pt x="41655" y="79429"/>
                  </a:cubicBezTo>
                  <a:cubicBezTo>
                    <a:pt x="33635" y="95470"/>
                    <a:pt x="29754" y="113581"/>
                    <a:pt x="29754" y="133762"/>
                  </a:cubicBezTo>
                  <a:cubicBezTo>
                    <a:pt x="29754" y="153943"/>
                    <a:pt x="33635" y="172312"/>
                    <a:pt x="41396" y="188612"/>
                  </a:cubicBezTo>
                  <a:cubicBezTo>
                    <a:pt x="49158" y="204912"/>
                    <a:pt x="60025" y="217848"/>
                    <a:pt x="73996" y="226904"/>
                  </a:cubicBezTo>
                  <a:cubicBezTo>
                    <a:pt x="87967" y="236218"/>
                    <a:pt x="104008" y="240875"/>
                    <a:pt x="121860" y="240875"/>
                  </a:cubicBezTo>
                  <a:cubicBezTo>
                    <a:pt x="139454" y="240875"/>
                    <a:pt x="155236" y="236218"/>
                    <a:pt x="169208" y="226904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7C1C92E-E62E-D05A-500F-975EEC7786B4}"/>
                </a:ext>
              </a:extLst>
            </p:cNvPr>
            <p:cNvSpPr/>
            <p:nvPr/>
          </p:nvSpPr>
          <p:spPr>
            <a:xfrm>
              <a:off x="3837336" y="4100733"/>
              <a:ext cx="241651" cy="361450"/>
            </a:xfrm>
            <a:custGeom>
              <a:avLst/>
              <a:gdLst>
                <a:gd name="connsiteX0" fmla="*/ 183438 w 241651"/>
                <a:gd name="connsiteY0" fmla="*/ 16826 h 361450"/>
                <a:gd name="connsiteX1" fmla="*/ 226128 w 241651"/>
                <a:gd name="connsiteY1" fmla="*/ 63914 h 361450"/>
                <a:gd name="connsiteX2" fmla="*/ 241651 w 241651"/>
                <a:gd name="connsiteY2" fmla="*/ 131442 h 361450"/>
                <a:gd name="connsiteX3" fmla="*/ 226128 w 241651"/>
                <a:gd name="connsiteY3" fmla="*/ 199487 h 361450"/>
                <a:gd name="connsiteX4" fmla="*/ 183696 w 241651"/>
                <a:gd name="connsiteY4" fmla="*/ 246834 h 361450"/>
                <a:gd name="connsiteX5" fmla="*/ 123413 w 241651"/>
                <a:gd name="connsiteY5" fmla="*/ 263910 h 361450"/>
                <a:gd name="connsiteX6" fmla="*/ 69598 w 241651"/>
                <a:gd name="connsiteY6" fmla="*/ 249939 h 361450"/>
                <a:gd name="connsiteX7" fmla="*/ 30530 w 241651"/>
                <a:gd name="connsiteY7" fmla="*/ 212682 h 361450"/>
                <a:gd name="connsiteX8" fmla="*/ 30530 w 241651"/>
                <a:gd name="connsiteY8" fmla="*/ 346185 h 361450"/>
                <a:gd name="connsiteX9" fmla="*/ 26131 w 241651"/>
                <a:gd name="connsiteY9" fmla="*/ 357052 h 361450"/>
                <a:gd name="connsiteX10" fmla="*/ 15265 w 241651"/>
                <a:gd name="connsiteY10" fmla="*/ 361450 h 361450"/>
                <a:gd name="connsiteX11" fmla="*/ 4398 w 241651"/>
                <a:gd name="connsiteY11" fmla="*/ 357052 h 361450"/>
                <a:gd name="connsiteX12" fmla="*/ 0 w 241651"/>
                <a:gd name="connsiteY12" fmla="*/ 346185 h 361450"/>
                <a:gd name="connsiteX13" fmla="*/ 0 w 241651"/>
                <a:gd name="connsiteY13" fmla="*/ 16567 h 361450"/>
                <a:gd name="connsiteX14" fmla="*/ 4398 w 241651"/>
                <a:gd name="connsiteY14" fmla="*/ 5442 h 361450"/>
                <a:gd name="connsiteX15" fmla="*/ 15265 w 241651"/>
                <a:gd name="connsiteY15" fmla="*/ 785 h 361450"/>
                <a:gd name="connsiteX16" fmla="*/ 26131 w 241651"/>
                <a:gd name="connsiteY16" fmla="*/ 5442 h 361450"/>
                <a:gd name="connsiteX17" fmla="*/ 30530 w 241651"/>
                <a:gd name="connsiteY17" fmla="*/ 16567 h 361450"/>
                <a:gd name="connsiteX18" fmla="*/ 30530 w 241651"/>
                <a:gd name="connsiteY18" fmla="*/ 50978 h 361450"/>
                <a:gd name="connsiteX19" fmla="*/ 68304 w 241651"/>
                <a:gd name="connsiteY19" fmla="*/ 13721 h 361450"/>
                <a:gd name="connsiteX20" fmla="*/ 122895 w 241651"/>
                <a:gd name="connsiteY20" fmla="*/ 8 h 361450"/>
                <a:gd name="connsiteX21" fmla="*/ 183438 w 241651"/>
                <a:gd name="connsiteY21" fmla="*/ 16826 h 361450"/>
                <a:gd name="connsiteX22" fmla="*/ 167655 w 241651"/>
                <a:gd name="connsiteY22" fmla="*/ 221996 h 361450"/>
                <a:gd name="connsiteX23" fmla="*/ 200514 w 241651"/>
                <a:gd name="connsiteY23" fmla="*/ 184740 h 361450"/>
                <a:gd name="connsiteX24" fmla="*/ 212415 w 241651"/>
                <a:gd name="connsiteY24" fmla="*/ 131183 h 361450"/>
                <a:gd name="connsiteX25" fmla="*/ 200514 w 241651"/>
                <a:gd name="connsiteY25" fmla="*/ 78403 h 361450"/>
                <a:gd name="connsiteX26" fmla="*/ 167655 w 241651"/>
                <a:gd name="connsiteY26" fmla="*/ 41405 h 361450"/>
                <a:gd name="connsiteX27" fmla="*/ 120308 w 241651"/>
                <a:gd name="connsiteY27" fmla="*/ 27951 h 361450"/>
                <a:gd name="connsiteX28" fmla="*/ 72185 w 241651"/>
                <a:gd name="connsiteY28" fmla="*/ 41146 h 361450"/>
                <a:gd name="connsiteX29" fmla="*/ 39326 w 241651"/>
                <a:gd name="connsiteY29" fmla="*/ 77885 h 361450"/>
                <a:gd name="connsiteX30" fmla="*/ 27684 w 241651"/>
                <a:gd name="connsiteY30" fmla="*/ 131183 h 361450"/>
                <a:gd name="connsiteX31" fmla="*/ 39326 w 241651"/>
                <a:gd name="connsiteY31" fmla="*/ 184740 h 361450"/>
                <a:gd name="connsiteX32" fmla="*/ 72185 w 241651"/>
                <a:gd name="connsiteY32" fmla="*/ 221996 h 361450"/>
                <a:gd name="connsiteX33" fmla="*/ 120308 w 241651"/>
                <a:gd name="connsiteY33" fmla="*/ 235450 h 361450"/>
                <a:gd name="connsiteX34" fmla="*/ 167655 w 241651"/>
                <a:gd name="connsiteY34" fmla="*/ 221996 h 36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41651" h="361450">
                  <a:moveTo>
                    <a:pt x="183438" y="16826"/>
                  </a:moveTo>
                  <a:cubicBezTo>
                    <a:pt x="201548" y="28210"/>
                    <a:pt x="215778" y="43733"/>
                    <a:pt x="226128" y="63914"/>
                  </a:cubicBezTo>
                  <a:cubicBezTo>
                    <a:pt x="236477" y="83836"/>
                    <a:pt x="241651" y="106345"/>
                    <a:pt x="241651" y="131442"/>
                  </a:cubicBezTo>
                  <a:cubicBezTo>
                    <a:pt x="241651" y="156797"/>
                    <a:pt x="236477" y="179306"/>
                    <a:pt x="226128" y="199487"/>
                  </a:cubicBezTo>
                  <a:cubicBezTo>
                    <a:pt x="215778" y="219409"/>
                    <a:pt x="201807" y="235191"/>
                    <a:pt x="183696" y="246834"/>
                  </a:cubicBezTo>
                  <a:cubicBezTo>
                    <a:pt x="165585" y="258218"/>
                    <a:pt x="145663" y="263910"/>
                    <a:pt x="123413" y="263910"/>
                  </a:cubicBezTo>
                  <a:cubicBezTo>
                    <a:pt x="103750" y="263910"/>
                    <a:pt x="85897" y="259253"/>
                    <a:pt x="69598" y="249939"/>
                  </a:cubicBezTo>
                  <a:cubicBezTo>
                    <a:pt x="53298" y="240625"/>
                    <a:pt x="40103" y="228206"/>
                    <a:pt x="30530" y="212682"/>
                  </a:cubicBezTo>
                  <a:lnTo>
                    <a:pt x="30530" y="346185"/>
                  </a:lnTo>
                  <a:cubicBezTo>
                    <a:pt x="30530" y="350584"/>
                    <a:pt x="28977" y="354206"/>
                    <a:pt x="26131" y="357052"/>
                  </a:cubicBezTo>
                  <a:cubicBezTo>
                    <a:pt x="23285" y="359898"/>
                    <a:pt x="19663" y="361450"/>
                    <a:pt x="15265" y="361450"/>
                  </a:cubicBezTo>
                  <a:cubicBezTo>
                    <a:pt x="10866" y="361450"/>
                    <a:pt x="7244" y="359898"/>
                    <a:pt x="4398" y="357052"/>
                  </a:cubicBezTo>
                  <a:cubicBezTo>
                    <a:pt x="1552" y="354206"/>
                    <a:pt x="0" y="350584"/>
                    <a:pt x="0" y="346185"/>
                  </a:cubicBezTo>
                  <a:lnTo>
                    <a:pt x="0" y="16567"/>
                  </a:lnTo>
                  <a:cubicBezTo>
                    <a:pt x="0" y="12169"/>
                    <a:pt x="1552" y="8546"/>
                    <a:pt x="4398" y="5442"/>
                  </a:cubicBezTo>
                  <a:cubicBezTo>
                    <a:pt x="7244" y="2337"/>
                    <a:pt x="10866" y="785"/>
                    <a:pt x="15265" y="785"/>
                  </a:cubicBezTo>
                  <a:cubicBezTo>
                    <a:pt x="19663" y="785"/>
                    <a:pt x="23285" y="2337"/>
                    <a:pt x="26131" y="5442"/>
                  </a:cubicBezTo>
                  <a:cubicBezTo>
                    <a:pt x="28977" y="8546"/>
                    <a:pt x="30530" y="12169"/>
                    <a:pt x="30530" y="16567"/>
                  </a:cubicBezTo>
                  <a:lnTo>
                    <a:pt x="30530" y="50978"/>
                  </a:lnTo>
                  <a:cubicBezTo>
                    <a:pt x="39326" y="35195"/>
                    <a:pt x="52004" y="22776"/>
                    <a:pt x="68304" y="13721"/>
                  </a:cubicBezTo>
                  <a:cubicBezTo>
                    <a:pt x="84863" y="4666"/>
                    <a:pt x="102973" y="8"/>
                    <a:pt x="122895" y="8"/>
                  </a:cubicBezTo>
                  <a:cubicBezTo>
                    <a:pt x="145146" y="-250"/>
                    <a:pt x="165327" y="5442"/>
                    <a:pt x="183438" y="16826"/>
                  </a:cubicBezTo>
                  <a:close/>
                  <a:moveTo>
                    <a:pt x="167655" y="221996"/>
                  </a:moveTo>
                  <a:cubicBezTo>
                    <a:pt x="181626" y="213200"/>
                    <a:pt x="192493" y="200781"/>
                    <a:pt x="200514" y="184740"/>
                  </a:cubicBezTo>
                  <a:cubicBezTo>
                    <a:pt x="208534" y="168957"/>
                    <a:pt x="212415" y="151105"/>
                    <a:pt x="212415" y="131183"/>
                  </a:cubicBezTo>
                  <a:cubicBezTo>
                    <a:pt x="212415" y="111779"/>
                    <a:pt x="208534" y="93926"/>
                    <a:pt x="200514" y="78403"/>
                  </a:cubicBezTo>
                  <a:cubicBezTo>
                    <a:pt x="192493" y="62620"/>
                    <a:pt x="181626" y="50460"/>
                    <a:pt x="167655" y="41405"/>
                  </a:cubicBezTo>
                  <a:cubicBezTo>
                    <a:pt x="153684" y="32608"/>
                    <a:pt x="137902" y="27951"/>
                    <a:pt x="120308" y="27951"/>
                  </a:cubicBezTo>
                  <a:cubicBezTo>
                    <a:pt x="102456" y="27951"/>
                    <a:pt x="86415" y="32349"/>
                    <a:pt x="72185" y="41146"/>
                  </a:cubicBezTo>
                  <a:cubicBezTo>
                    <a:pt x="57955" y="49943"/>
                    <a:pt x="47088" y="62103"/>
                    <a:pt x="39326" y="77885"/>
                  </a:cubicBezTo>
                  <a:cubicBezTo>
                    <a:pt x="31565" y="93668"/>
                    <a:pt x="27684" y="111261"/>
                    <a:pt x="27684" y="131183"/>
                  </a:cubicBezTo>
                  <a:cubicBezTo>
                    <a:pt x="27684" y="151105"/>
                    <a:pt x="31565" y="168957"/>
                    <a:pt x="39326" y="184740"/>
                  </a:cubicBezTo>
                  <a:cubicBezTo>
                    <a:pt x="47088" y="200522"/>
                    <a:pt x="57955" y="212941"/>
                    <a:pt x="72185" y="221996"/>
                  </a:cubicBezTo>
                  <a:cubicBezTo>
                    <a:pt x="86415" y="230793"/>
                    <a:pt x="102197" y="235450"/>
                    <a:pt x="120308" y="235450"/>
                  </a:cubicBezTo>
                  <a:cubicBezTo>
                    <a:pt x="137902" y="235191"/>
                    <a:pt x="153684" y="230793"/>
                    <a:pt x="167655" y="221996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2CDE542-3E74-4CD6-0BAD-2ABE768586C8}"/>
                </a:ext>
              </a:extLst>
            </p:cNvPr>
            <p:cNvSpPr/>
            <p:nvPr/>
          </p:nvSpPr>
          <p:spPr>
            <a:xfrm>
              <a:off x="4114701" y="4101174"/>
              <a:ext cx="266751" cy="257228"/>
            </a:xfrm>
            <a:custGeom>
              <a:avLst/>
              <a:gdLst>
                <a:gd name="connsiteX0" fmla="*/ 204644 w 266751"/>
                <a:gd name="connsiteY0" fmla="*/ 47174 h 257228"/>
                <a:gd name="connsiteX1" fmla="*/ 200245 w 266751"/>
                <a:gd name="connsiteY1" fmla="*/ 57782 h 257228"/>
                <a:gd name="connsiteX2" fmla="*/ 65189 w 266751"/>
                <a:gd name="connsiteY2" fmla="*/ 192837 h 257228"/>
                <a:gd name="connsiteX3" fmla="*/ 112278 w 266751"/>
                <a:gd name="connsiteY3" fmla="*/ 222591 h 257228"/>
                <a:gd name="connsiteX4" fmla="*/ 164023 w 266751"/>
                <a:gd name="connsiteY4" fmla="*/ 224402 h 257228"/>
                <a:gd name="connsiteX5" fmla="*/ 212147 w 266751"/>
                <a:gd name="connsiteY5" fmla="*/ 195942 h 257228"/>
                <a:gd name="connsiteX6" fmla="*/ 235691 w 266751"/>
                <a:gd name="connsiteY6" fmla="*/ 158168 h 257228"/>
                <a:gd name="connsiteX7" fmla="*/ 239313 w 266751"/>
                <a:gd name="connsiteY7" fmla="*/ 118065 h 257228"/>
                <a:gd name="connsiteX8" fmla="*/ 243711 w 266751"/>
                <a:gd name="connsiteY8" fmla="*/ 107457 h 257228"/>
                <a:gd name="connsiteX9" fmla="*/ 253026 w 266751"/>
                <a:gd name="connsiteY9" fmla="*/ 103835 h 257228"/>
                <a:gd name="connsiteX10" fmla="*/ 262340 w 266751"/>
                <a:gd name="connsiteY10" fmla="*/ 107457 h 257228"/>
                <a:gd name="connsiteX11" fmla="*/ 266221 w 266751"/>
                <a:gd name="connsiteY11" fmla="*/ 118583 h 257228"/>
                <a:gd name="connsiteX12" fmla="*/ 260270 w 266751"/>
                <a:gd name="connsiteY12" fmla="*/ 170328 h 257228"/>
                <a:gd name="connsiteX13" fmla="*/ 232586 w 266751"/>
                <a:gd name="connsiteY13" fmla="*/ 215864 h 257228"/>
                <a:gd name="connsiteX14" fmla="*/ 172303 w 266751"/>
                <a:gd name="connsiteY14" fmla="*/ 252603 h 257228"/>
                <a:gd name="connsiteX15" fmla="*/ 106327 w 266751"/>
                <a:gd name="connsiteY15" fmla="*/ 252344 h 257228"/>
                <a:gd name="connsiteX16" fmla="*/ 45526 w 266751"/>
                <a:gd name="connsiteY16" fmla="*/ 215088 h 257228"/>
                <a:gd name="connsiteX17" fmla="*/ 5941 w 266751"/>
                <a:gd name="connsiteY17" fmla="*/ 152217 h 257228"/>
                <a:gd name="connsiteX18" fmla="*/ 3354 w 266751"/>
                <a:gd name="connsiteY18" fmla="*/ 87794 h 257228"/>
                <a:gd name="connsiteX19" fmla="*/ 32849 w 266751"/>
                <a:gd name="connsiteY19" fmla="*/ 35014 h 257228"/>
                <a:gd name="connsiteX20" fmla="*/ 83042 w 266751"/>
                <a:gd name="connsiteY20" fmla="*/ 4743 h 257228"/>
                <a:gd name="connsiteX21" fmla="*/ 142808 w 266751"/>
                <a:gd name="connsiteY21" fmla="*/ 3449 h 257228"/>
                <a:gd name="connsiteX22" fmla="*/ 200763 w 266751"/>
                <a:gd name="connsiteY22" fmla="*/ 37083 h 257228"/>
                <a:gd name="connsiteX23" fmla="*/ 204644 w 266751"/>
                <a:gd name="connsiteY23" fmla="*/ 47174 h 257228"/>
                <a:gd name="connsiteX24" fmla="*/ 29226 w 266751"/>
                <a:gd name="connsiteY24" fmla="*/ 107975 h 257228"/>
                <a:gd name="connsiteX25" fmla="*/ 47596 w 266751"/>
                <a:gd name="connsiteY25" fmla="*/ 171622 h 257228"/>
                <a:gd name="connsiteX26" fmla="*/ 169457 w 266751"/>
                <a:gd name="connsiteY26" fmla="*/ 49761 h 257228"/>
                <a:gd name="connsiteX27" fmla="*/ 166611 w 266751"/>
                <a:gd name="connsiteY27" fmla="*/ 46915 h 257228"/>
                <a:gd name="connsiteX28" fmla="*/ 127802 w 266751"/>
                <a:gd name="connsiteY28" fmla="*/ 29580 h 257228"/>
                <a:gd name="connsiteX29" fmla="*/ 87181 w 266751"/>
                <a:gd name="connsiteY29" fmla="*/ 33720 h 257228"/>
                <a:gd name="connsiteX30" fmla="*/ 53288 w 266751"/>
                <a:gd name="connsiteY30" fmla="*/ 55194 h 257228"/>
                <a:gd name="connsiteX31" fmla="*/ 29226 w 266751"/>
                <a:gd name="connsiteY31" fmla="*/ 107975 h 257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66751" h="257228">
                  <a:moveTo>
                    <a:pt x="204644" y="47174"/>
                  </a:moveTo>
                  <a:cubicBezTo>
                    <a:pt x="204644" y="51313"/>
                    <a:pt x="203091" y="54936"/>
                    <a:pt x="200245" y="57782"/>
                  </a:cubicBezTo>
                  <a:lnTo>
                    <a:pt x="65189" y="192837"/>
                  </a:lnTo>
                  <a:cubicBezTo>
                    <a:pt x="79419" y="207067"/>
                    <a:pt x="95202" y="216899"/>
                    <a:pt x="112278" y="222591"/>
                  </a:cubicBezTo>
                  <a:cubicBezTo>
                    <a:pt x="129354" y="228024"/>
                    <a:pt x="146689" y="228542"/>
                    <a:pt x="164023" y="224402"/>
                  </a:cubicBezTo>
                  <a:cubicBezTo>
                    <a:pt x="181358" y="220004"/>
                    <a:pt x="197399" y="210689"/>
                    <a:pt x="212147" y="195942"/>
                  </a:cubicBezTo>
                  <a:cubicBezTo>
                    <a:pt x="223531" y="184558"/>
                    <a:pt x="231551" y="171880"/>
                    <a:pt x="235691" y="158168"/>
                  </a:cubicBezTo>
                  <a:cubicBezTo>
                    <a:pt x="240089" y="144455"/>
                    <a:pt x="241124" y="131001"/>
                    <a:pt x="239313" y="118065"/>
                  </a:cubicBezTo>
                  <a:cubicBezTo>
                    <a:pt x="239830" y="113408"/>
                    <a:pt x="241124" y="109786"/>
                    <a:pt x="243711" y="107457"/>
                  </a:cubicBezTo>
                  <a:cubicBezTo>
                    <a:pt x="246040" y="105129"/>
                    <a:pt x="249145" y="103835"/>
                    <a:pt x="253026" y="103835"/>
                  </a:cubicBezTo>
                  <a:cubicBezTo>
                    <a:pt x="256907" y="103835"/>
                    <a:pt x="260011" y="105129"/>
                    <a:pt x="262340" y="107457"/>
                  </a:cubicBezTo>
                  <a:cubicBezTo>
                    <a:pt x="264927" y="110045"/>
                    <a:pt x="266221" y="113667"/>
                    <a:pt x="266221" y="118583"/>
                  </a:cubicBezTo>
                  <a:cubicBezTo>
                    <a:pt x="267773" y="135400"/>
                    <a:pt x="265962" y="152735"/>
                    <a:pt x="260270" y="170328"/>
                  </a:cubicBezTo>
                  <a:cubicBezTo>
                    <a:pt x="254578" y="187921"/>
                    <a:pt x="245522" y="202928"/>
                    <a:pt x="232586" y="215864"/>
                  </a:cubicBezTo>
                  <a:cubicBezTo>
                    <a:pt x="214217" y="234234"/>
                    <a:pt x="194036" y="246394"/>
                    <a:pt x="172303" y="252603"/>
                  </a:cubicBezTo>
                  <a:cubicBezTo>
                    <a:pt x="150311" y="258813"/>
                    <a:pt x="128319" y="258813"/>
                    <a:pt x="106327" y="252344"/>
                  </a:cubicBezTo>
                  <a:cubicBezTo>
                    <a:pt x="84335" y="246135"/>
                    <a:pt x="63896" y="233716"/>
                    <a:pt x="45526" y="215088"/>
                  </a:cubicBezTo>
                  <a:cubicBezTo>
                    <a:pt x="26122" y="195683"/>
                    <a:pt x="12668" y="174726"/>
                    <a:pt x="5941" y="152217"/>
                  </a:cubicBezTo>
                  <a:cubicBezTo>
                    <a:pt x="-1045" y="129708"/>
                    <a:pt x="-1821" y="108233"/>
                    <a:pt x="3354" y="87794"/>
                  </a:cubicBezTo>
                  <a:cubicBezTo>
                    <a:pt x="8528" y="67096"/>
                    <a:pt x="18360" y="49502"/>
                    <a:pt x="32849" y="35014"/>
                  </a:cubicBezTo>
                  <a:cubicBezTo>
                    <a:pt x="47079" y="20784"/>
                    <a:pt x="63896" y="10693"/>
                    <a:pt x="83042" y="4743"/>
                  </a:cubicBezTo>
                  <a:cubicBezTo>
                    <a:pt x="102187" y="-1208"/>
                    <a:pt x="122109" y="-1467"/>
                    <a:pt x="142808" y="3449"/>
                  </a:cubicBezTo>
                  <a:cubicBezTo>
                    <a:pt x="163506" y="8365"/>
                    <a:pt x="182910" y="19749"/>
                    <a:pt x="200763" y="37083"/>
                  </a:cubicBezTo>
                  <a:cubicBezTo>
                    <a:pt x="203350" y="39412"/>
                    <a:pt x="204644" y="43034"/>
                    <a:pt x="204644" y="47174"/>
                  </a:cubicBezTo>
                  <a:close/>
                  <a:moveTo>
                    <a:pt x="29226" y="107975"/>
                  </a:moveTo>
                  <a:cubicBezTo>
                    <a:pt x="26898" y="129190"/>
                    <a:pt x="33107" y="150665"/>
                    <a:pt x="47596" y="171622"/>
                  </a:cubicBezTo>
                  <a:lnTo>
                    <a:pt x="169457" y="49761"/>
                  </a:lnTo>
                  <a:lnTo>
                    <a:pt x="166611" y="46915"/>
                  </a:lnTo>
                  <a:cubicBezTo>
                    <a:pt x="154709" y="37342"/>
                    <a:pt x="141773" y="31650"/>
                    <a:pt x="127802" y="29580"/>
                  </a:cubicBezTo>
                  <a:cubicBezTo>
                    <a:pt x="113830" y="27511"/>
                    <a:pt x="100376" y="28804"/>
                    <a:pt x="87181" y="33720"/>
                  </a:cubicBezTo>
                  <a:cubicBezTo>
                    <a:pt x="73986" y="38377"/>
                    <a:pt x="62861" y="45621"/>
                    <a:pt x="53288" y="55194"/>
                  </a:cubicBezTo>
                  <a:cubicBezTo>
                    <a:pt x="39576" y="68907"/>
                    <a:pt x="31555" y="86500"/>
                    <a:pt x="29226" y="107975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FB85098-9F7E-D2AF-3213-F61D85377818}"/>
                </a:ext>
              </a:extLst>
            </p:cNvPr>
            <p:cNvSpPr/>
            <p:nvPr/>
          </p:nvSpPr>
          <p:spPr>
            <a:xfrm>
              <a:off x="4422060" y="4096602"/>
              <a:ext cx="147474" cy="264419"/>
            </a:xfrm>
            <a:custGeom>
              <a:avLst/>
              <a:gdLst>
                <a:gd name="connsiteX0" fmla="*/ 139454 w 147474"/>
                <a:gd name="connsiteY0" fmla="*/ 3881 h 264419"/>
                <a:gd name="connsiteX1" fmla="*/ 147475 w 147474"/>
                <a:gd name="connsiteY1" fmla="*/ 16041 h 264419"/>
                <a:gd name="connsiteX2" fmla="*/ 143335 w 147474"/>
                <a:gd name="connsiteY2" fmla="*/ 27425 h 264419"/>
                <a:gd name="connsiteX3" fmla="*/ 133762 w 147474"/>
                <a:gd name="connsiteY3" fmla="*/ 31823 h 264419"/>
                <a:gd name="connsiteX4" fmla="*/ 123930 w 147474"/>
                <a:gd name="connsiteY4" fmla="*/ 29236 h 264419"/>
                <a:gd name="connsiteX5" fmla="*/ 109959 w 147474"/>
                <a:gd name="connsiteY5" fmla="*/ 26649 h 264419"/>
                <a:gd name="connsiteX6" fmla="*/ 72702 w 147474"/>
                <a:gd name="connsiteY6" fmla="*/ 41138 h 264419"/>
                <a:gd name="connsiteX7" fmla="*/ 42431 w 147474"/>
                <a:gd name="connsiteY7" fmla="*/ 78394 h 264419"/>
                <a:gd name="connsiteX8" fmla="*/ 30530 w 147474"/>
                <a:gd name="connsiteY8" fmla="*/ 124448 h 264419"/>
                <a:gd name="connsiteX9" fmla="*/ 30530 w 147474"/>
                <a:gd name="connsiteY9" fmla="*/ 249154 h 264419"/>
                <a:gd name="connsiteX10" fmla="*/ 26131 w 147474"/>
                <a:gd name="connsiteY10" fmla="*/ 260021 h 264419"/>
                <a:gd name="connsiteX11" fmla="*/ 15265 w 147474"/>
                <a:gd name="connsiteY11" fmla="*/ 264419 h 264419"/>
                <a:gd name="connsiteX12" fmla="*/ 4398 w 147474"/>
                <a:gd name="connsiteY12" fmla="*/ 260021 h 264419"/>
                <a:gd name="connsiteX13" fmla="*/ 0 w 147474"/>
                <a:gd name="connsiteY13" fmla="*/ 249154 h 264419"/>
                <a:gd name="connsiteX14" fmla="*/ 0 w 147474"/>
                <a:gd name="connsiteY14" fmla="*/ 22768 h 264419"/>
                <a:gd name="connsiteX15" fmla="*/ 4398 w 147474"/>
                <a:gd name="connsiteY15" fmla="*/ 11901 h 264419"/>
                <a:gd name="connsiteX16" fmla="*/ 15265 w 147474"/>
                <a:gd name="connsiteY16" fmla="*/ 7503 h 264419"/>
                <a:gd name="connsiteX17" fmla="*/ 26131 w 147474"/>
                <a:gd name="connsiteY17" fmla="*/ 11901 h 264419"/>
                <a:gd name="connsiteX18" fmla="*/ 30530 w 147474"/>
                <a:gd name="connsiteY18" fmla="*/ 22768 h 264419"/>
                <a:gd name="connsiteX19" fmla="*/ 30530 w 147474"/>
                <a:gd name="connsiteY19" fmla="*/ 67269 h 264419"/>
                <a:gd name="connsiteX20" fmla="*/ 65717 w 147474"/>
                <a:gd name="connsiteY20" fmla="*/ 19405 h 264419"/>
                <a:gd name="connsiteX21" fmla="*/ 121084 w 147474"/>
                <a:gd name="connsiteY21" fmla="*/ 0 h 264419"/>
                <a:gd name="connsiteX22" fmla="*/ 139454 w 147474"/>
                <a:gd name="connsiteY22" fmla="*/ 3881 h 264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7474" h="264419">
                  <a:moveTo>
                    <a:pt x="139454" y="3881"/>
                  </a:moveTo>
                  <a:cubicBezTo>
                    <a:pt x="144887" y="6468"/>
                    <a:pt x="147475" y="10608"/>
                    <a:pt x="147475" y="16041"/>
                  </a:cubicBezTo>
                  <a:cubicBezTo>
                    <a:pt x="147475" y="20698"/>
                    <a:pt x="146181" y="24579"/>
                    <a:pt x="143335" y="27425"/>
                  </a:cubicBezTo>
                  <a:cubicBezTo>
                    <a:pt x="140748" y="30271"/>
                    <a:pt x="137384" y="31823"/>
                    <a:pt x="133762" y="31823"/>
                  </a:cubicBezTo>
                  <a:cubicBezTo>
                    <a:pt x="131951" y="31823"/>
                    <a:pt x="128846" y="31047"/>
                    <a:pt x="123930" y="29236"/>
                  </a:cubicBezTo>
                  <a:cubicBezTo>
                    <a:pt x="119015" y="27425"/>
                    <a:pt x="114357" y="26649"/>
                    <a:pt x="109959" y="26649"/>
                  </a:cubicBezTo>
                  <a:cubicBezTo>
                    <a:pt x="97540" y="26649"/>
                    <a:pt x="85121" y="31565"/>
                    <a:pt x="72702" y="41138"/>
                  </a:cubicBezTo>
                  <a:cubicBezTo>
                    <a:pt x="60283" y="50711"/>
                    <a:pt x="50193" y="63129"/>
                    <a:pt x="42431" y="78394"/>
                  </a:cubicBezTo>
                  <a:cubicBezTo>
                    <a:pt x="34411" y="93659"/>
                    <a:pt x="30530" y="108924"/>
                    <a:pt x="30530" y="124448"/>
                  </a:cubicBezTo>
                  <a:lnTo>
                    <a:pt x="30530" y="249154"/>
                  </a:lnTo>
                  <a:cubicBezTo>
                    <a:pt x="30530" y="253553"/>
                    <a:pt x="28977" y="257175"/>
                    <a:pt x="26131" y="260021"/>
                  </a:cubicBezTo>
                  <a:cubicBezTo>
                    <a:pt x="23285" y="262867"/>
                    <a:pt x="19663" y="264419"/>
                    <a:pt x="15265" y="264419"/>
                  </a:cubicBezTo>
                  <a:cubicBezTo>
                    <a:pt x="10866" y="264419"/>
                    <a:pt x="7244" y="262867"/>
                    <a:pt x="4398" y="260021"/>
                  </a:cubicBezTo>
                  <a:cubicBezTo>
                    <a:pt x="1552" y="257175"/>
                    <a:pt x="0" y="253553"/>
                    <a:pt x="0" y="249154"/>
                  </a:cubicBezTo>
                  <a:lnTo>
                    <a:pt x="0" y="22768"/>
                  </a:lnTo>
                  <a:cubicBezTo>
                    <a:pt x="0" y="18370"/>
                    <a:pt x="1552" y="14747"/>
                    <a:pt x="4398" y="11901"/>
                  </a:cubicBezTo>
                  <a:cubicBezTo>
                    <a:pt x="7244" y="9055"/>
                    <a:pt x="10866" y="7503"/>
                    <a:pt x="15265" y="7503"/>
                  </a:cubicBezTo>
                  <a:cubicBezTo>
                    <a:pt x="19663" y="7503"/>
                    <a:pt x="23285" y="9055"/>
                    <a:pt x="26131" y="11901"/>
                  </a:cubicBezTo>
                  <a:cubicBezTo>
                    <a:pt x="28977" y="14747"/>
                    <a:pt x="30530" y="18370"/>
                    <a:pt x="30530" y="22768"/>
                  </a:cubicBezTo>
                  <a:lnTo>
                    <a:pt x="30530" y="67269"/>
                  </a:lnTo>
                  <a:cubicBezTo>
                    <a:pt x="38292" y="48123"/>
                    <a:pt x="49934" y="32082"/>
                    <a:pt x="65717" y="19405"/>
                  </a:cubicBezTo>
                  <a:cubicBezTo>
                    <a:pt x="81499" y="6727"/>
                    <a:pt x="99869" y="259"/>
                    <a:pt x="121084" y="0"/>
                  </a:cubicBezTo>
                  <a:cubicBezTo>
                    <a:pt x="127811" y="0"/>
                    <a:pt x="134021" y="1294"/>
                    <a:pt x="139454" y="3881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6" name="Picture 25" descr="A screenshot of a white card&#10;&#10;Description automatically generated">
            <a:extLst>
              <a:ext uri="{FF2B5EF4-FFF2-40B4-BE49-F238E27FC236}">
                <a16:creationId xmlns:a16="http://schemas.microsoft.com/office/drawing/2014/main" id="{925D8233-1AD4-FC03-5162-017D7F0B5F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59" t="54229" r="12734" b="24962"/>
          <a:stretch/>
        </p:blipFill>
        <p:spPr>
          <a:xfrm>
            <a:off x="7080464" y="4688997"/>
            <a:ext cx="1508606" cy="422226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D7A1FE9F-C1D9-E794-B9E8-94C3E81E2118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744263" y="3698910"/>
            <a:ext cx="1898865" cy="328452"/>
          </a:xfrm>
          <a:prstGeom prst="rect">
            <a:avLst/>
          </a:prstGeom>
        </p:spPr>
      </p:pic>
      <p:pic>
        <p:nvPicPr>
          <p:cNvPr id="28" name="Picture 27" descr="A blue and white logo&#10;&#10;Description automatically generated">
            <a:extLst>
              <a:ext uri="{FF2B5EF4-FFF2-40B4-BE49-F238E27FC236}">
                <a16:creationId xmlns:a16="http://schemas.microsoft.com/office/drawing/2014/main" id="{135E6CCF-D774-D452-555E-F594BC539D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50" b="14100"/>
          <a:stretch/>
        </p:blipFill>
        <p:spPr>
          <a:xfrm>
            <a:off x="4941314" y="4646552"/>
            <a:ext cx="1712659" cy="51230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184FC7F9-D7DB-14B6-74A6-63B6490CF7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4" r="-292"/>
          <a:stretch/>
        </p:blipFill>
        <p:spPr>
          <a:xfrm>
            <a:off x="3102739" y="1555150"/>
            <a:ext cx="5986522" cy="10849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DCA398C8-136C-B730-AA4F-EEA243B591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401" b="20496"/>
          <a:stretch/>
        </p:blipFill>
        <p:spPr>
          <a:xfrm>
            <a:off x="3420301" y="143313"/>
            <a:ext cx="5351398" cy="152434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3E6DB25-B14D-4538-93FE-7DB37150D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06" t="17363" r="23022" b="25746"/>
          <a:stretch/>
        </p:blipFill>
        <p:spPr>
          <a:xfrm>
            <a:off x="2070993" y="5515500"/>
            <a:ext cx="1014304" cy="459974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2E366A6-1EC6-3AA7-847B-A54B93D8B3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13" t="11427" r="10470" b="28230"/>
          <a:stretch/>
        </p:blipFill>
        <p:spPr>
          <a:xfrm>
            <a:off x="4554145" y="5526382"/>
            <a:ext cx="1082463" cy="550698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561562DD-134D-1EC1-129D-9B22C4333FC5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89266" y="5586290"/>
            <a:ext cx="526902" cy="39441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F3846E0-DDBC-5CD7-3BB9-1B079F94E9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67" t="7049" r="31843"/>
          <a:stretch/>
        </p:blipFill>
        <p:spPr>
          <a:xfrm>
            <a:off x="8771699" y="5493749"/>
            <a:ext cx="670013" cy="583331"/>
          </a:xfrm>
          <a:prstGeom prst="rect">
            <a:avLst/>
          </a:prstGeom>
        </p:spPr>
      </p:pic>
      <p:pic>
        <p:nvPicPr>
          <p:cNvPr id="1028" name="Graphic 1027">
            <a:extLst>
              <a:ext uri="{FF2B5EF4-FFF2-40B4-BE49-F238E27FC236}">
                <a16:creationId xmlns:a16="http://schemas.microsoft.com/office/drawing/2014/main" id="{6DFCE941-A300-08A7-375E-56EC9A69E8A8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649427" y="4688997"/>
            <a:ext cx="1207375" cy="454055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12870340-4FC0-BF31-AAD9-0A96EFABB32F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15561" y="4858106"/>
            <a:ext cx="1207375" cy="17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9201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Spons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A54F9D2-7058-7C4C-4D37-53CF866FF7E6}"/>
              </a:ext>
            </a:extLst>
          </p:cNvPr>
          <p:cNvGrpSpPr/>
          <p:nvPr userDrawn="1"/>
        </p:nvGrpSpPr>
        <p:grpSpPr>
          <a:xfrm>
            <a:off x="104775" y="285544"/>
            <a:ext cx="11972925" cy="5867604"/>
            <a:chOff x="104775" y="285544"/>
            <a:chExt cx="11972925" cy="5867604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0C51417-43D8-02BA-9643-F6CBF91C616C}"/>
                </a:ext>
              </a:extLst>
            </p:cNvPr>
            <p:cNvSpPr/>
            <p:nvPr/>
          </p:nvSpPr>
          <p:spPr>
            <a:xfrm>
              <a:off x="104775" y="4114799"/>
              <a:ext cx="11972925" cy="20383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B8EAA69-35A5-63D9-9371-8055A5C83A0F}"/>
                </a:ext>
              </a:extLst>
            </p:cNvPr>
            <p:cNvSpPr/>
            <p:nvPr/>
          </p:nvSpPr>
          <p:spPr>
            <a:xfrm>
              <a:off x="104775" y="1047749"/>
              <a:ext cx="11972925" cy="21285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691AA9C5-1429-3450-BFB3-75BFA69C0019}"/>
                </a:ext>
              </a:extLst>
            </p:cNvPr>
            <p:cNvSpPr txBox="1"/>
            <p:nvPr/>
          </p:nvSpPr>
          <p:spPr>
            <a:xfrm>
              <a:off x="3540772" y="285544"/>
              <a:ext cx="5095875" cy="895675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normAutofit/>
            </a:bodyPr>
            <a:lstStyle/>
            <a:p>
              <a:pPr algn="ctr"/>
              <a:r>
                <a:rPr lang="en-US" sz="4400" b="1"/>
                <a:t>DIAMOND SPONSOR</a:t>
              </a: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171AA53-33BA-1536-33C1-E4DECE13EE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1" r="376"/>
            <a:stretch/>
          </p:blipFill>
          <p:spPr>
            <a:xfrm>
              <a:off x="1327150" y="4265190"/>
              <a:ext cx="9537700" cy="173756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CCC7647-3758-073D-53ED-30014DE0D1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401" b="20496"/>
            <a:stretch/>
          </p:blipFill>
          <p:spPr>
            <a:xfrm>
              <a:off x="2176894" y="997728"/>
              <a:ext cx="7823627" cy="2228559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9F73B57-8CC7-E8D2-F496-54C398C69104}"/>
                </a:ext>
              </a:extLst>
            </p:cNvPr>
            <p:cNvSpPr txBox="1"/>
            <p:nvPr/>
          </p:nvSpPr>
          <p:spPr>
            <a:xfrm>
              <a:off x="3540771" y="3355688"/>
              <a:ext cx="5095875" cy="895675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normAutofit/>
            </a:bodyPr>
            <a:lstStyle/>
            <a:p>
              <a:pPr algn="ctr"/>
              <a:r>
                <a:rPr lang="en-US" sz="4400" b="1"/>
                <a:t>PLATINUM</a:t>
              </a:r>
              <a:r>
                <a:rPr lang="en-US" sz="4800" b="1"/>
                <a:t> </a:t>
              </a:r>
              <a:r>
                <a:rPr lang="en-US" sz="4400" b="1"/>
                <a:t>SPONSOR</a:t>
              </a:r>
              <a:endParaRPr lang="en-US" sz="4800" b="1"/>
            </a:p>
          </p:txBody>
        </p:sp>
      </p:grpSp>
    </p:spTree>
    <p:extLst>
      <p:ext uri="{BB962C8B-B14F-4D97-AF65-F5344CB8AC3E}">
        <p14:creationId xmlns:p14="http://schemas.microsoft.com/office/powerpoint/2010/main" val="42870862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Spons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F0B6730-79EC-B094-85A8-8C60C906139D}"/>
              </a:ext>
            </a:extLst>
          </p:cNvPr>
          <p:cNvSpPr/>
          <p:nvPr/>
        </p:nvSpPr>
        <p:spPr>
          <a:xfrm>
            <a:off x="104775" y="1026529"/>
            <a:ext cx="11972925" cy="19053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FF16284-B8E4-FB8E-80F6-2BA93DCE5381}"/>
              </a:ext>
            </a:extLst>
          </p:cNvPr>
          <p:cNvSpPr/>
          <p:nvPr/>
        </p:nvSpPr>
        <p:spPr>
          <a:xfrm>
            <a:off x="104775" y="3637080"/>
            <a:ext cx="11972925" cy="89567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EA6BAFD-87A6-3967-2696-C190A81913FC}"/>
              </a:ext>
            </a:extLst>
          </p:cNvPr>
          <p:cNvSpPr/>
          <p:nvPr/>
        </p:nvSpPr>
        <p:spPr>
          <a:xfrm>
            <a:off x="104775" y="5397211"/>
            <a:ext cx="11972925" cy="7915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271A2E8-CFCD-AD22-5278-B7367A654D5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06" t="17363" r="23022" b="25746"/>
          <a:stretch/>
        </p:blipFill>
        <p:spPr>
          <a:xfrm>
            <a:off x="1004566" y="5452336"/>
            <a:ext cx="1330986" cy="60358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A97A7D9-6DE0-2092-44A9-063B2E0ECBF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13" t="11427" r="10470" b="28230"/>
          <a:stretch/>
        </p:blipFill>
        <p:spPr>
          <a:xfrm>
            <a:off x="3483621" y="5431662"/>
            <a:ext cx="1420427" cy="72263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E8BB418-5BCB-426A-2CA2-412132A40A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19390" y="5538362"/>
            <a:ext cx="691410" cy="517559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92F8CEEF-7047-D083-F3D7-07F19E007B67}"/>
              </a:ext>
            </a:extLst>
          </p:cNvPr>
          <p:cNvSpPr txBox="1"/>
          <p:nvPr/>
        </p:nvSpPr>
        <p:spPr>
          <a:xfrm>
            <a:off x="3483622" y="2931840"/>
            <a:ext cx="5095875" cy="895675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algn="ctr"/>
            <a:r>
              <a:rPr lang="en-US" sz="4400" b="1"/>
              <a:t>SILVER SPONSOR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CED634-5160-2FA1-8B97-7C2FC49EF9F6}"/>
              </a:ext>
            </a:extLst>
          </p:cNvPr>
          <p:cNvSpPr txBox="1"/>
          <p:nvPr/>
        </p:nvSpPr>
        <p:spPr>
          <a:xfrm>
            <a:off x="3483621" y="4619404"/>
            <a:ext cx="5095875" cy="895675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algn="ctr"/>
            <a:r>
              <a:rPr lang="en-US" sz="4400" b="1"/>
              <a:t>BRONZE SPONSOR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0C0869C-0CEB-035E-F3FC-2EF888EE311F}"/>
              </a:ext>
            </a:extLst>
          </p:cNvPr>
          <p:cNvSpPr txBox="1"/>
          <p:nvPr/>
        </p:nvSpPr>
        <p:spPr>
          <a:xfrm>
            <a:off x="3483622" y="285544"/>
            <a:ext cx="5095875" cy="895675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algn="ctr"/>
            <a:r>
              <a:rPr lang="en-US" sz="4400" b="1"/>
              <a:t>GOLD SPONSOR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8BCA23B-A69A-39C1-09BD-718522A958D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1614" y="5491758"/>
            <a:ext cx="1761032" cy="64148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E5A3431-77B0-85CF-DDDA-159C221640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20291" y="3810175"/>
            <a:ext cx="878520" cy="48885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5CB1FB7-9055-CC47-74AB-6DA37ABB06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25302" y="3891025"/>
            <a:ext cx="1082464" cy="520416"/>
          </a:xfrm>
          <a:prstGeom prst="rect">
            <a:avLst/>
          </a:prstGeom>
        </p:spPr>
      </p:pic>
      <p:grpSp>
        <p:nvGrpSpPr>
          <p:cNvPr id="24" name="Picture 13">
            <a:extLst>
              <a:ext uri="{FF2B5EF4-FFF2-40B4-BE49-F238E27FC236}">
                <a16:creationId xmlns:a16="http://schemas.microsoft.com/office/drawing/2014/main" id="{281A7C3B-EA2B-94CD-12B2-CB825F211FBC}"/>
              </a:ext>
            </a:extLst>
          </p:cNvPr>
          <p:cNvGrpSpPr/>
          <p:nvPr userDrawn="1"/>
        </p:nvGrpSpPr>
        <p:grpSpPr>
          <a:xfrm>
            <a:off x="391897" y="4018748"/>
            <a:ext cx="1301903" cy="224728"/>
            <a:chOff x="2004770" y="3986902"/>
            <a:chExt cx="2564763" cy="475281"/>
          </a:xfrm>
          <a:solidFill>
            <a:schemeClr val="bg2">
              <a:lumMod val="25000"/>
            </a:schemeClr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FC8E0E3-0877-8473-8013-3AD76C8F0DCA}"/>
                </a:ext>
              </a:extLst>
            </p:cNvPr>
            <p:cNvSpPr/>
            <p:nvPr/>
          </p:nvSpPr>
          <p:spPr>
            <a:xfrm>
              <a:off x="2004770" y="4096861"/>
              <a:ext cx="250448" cy="365322"/>
            </a:xfrm>
            <a:custGeom>
              <a:avLst/>
              <a:gdLst>
                <a:gd name="connsiteX0" fmla="*/ 246050 w 250448"/>
                <a:gd name="connsiteY0" fmla="*/ 10090 h 365322"/>
                <a:gd name="connsiteX1" fmla="*/ 250448 w 250448"/>
                <a:gd name="connsiteY1" fmla="*/ 21474 h 365322"/>
                <a:gd name="connsiteX2" fmla="*/ 250448 w 250448"/>
                <a:gd name="connsiteY2" fmla="*/ 240358 h 365322"/>
                <a:gd name="connsiteX3" fmla="*/ 234148 w 250448"/>
                <a:gd name="connsiteY3" fmla="*/ 307885 h 365322"/>
                <a:gd name="connsiteX4" fmla="*/ 189130 w 250448"/>
                <a:gd name="connsiteY4" fmla="*/ 350575 h 365322"/>
                <a:gd name="connsiteX5" fmla="*/ 123672 w 250448"/>
                <a:gd name="connsiteY5" fmla="*/ 365323 h 365322"/>
                <a:gd name="connsiteX6" fmla="*/ 86415 w 250448"/>
                <a:gd name="connsiteY6" fmla="*/ 360666 h 365322"/>
                <a:gd name="connsiteX7" fmla="*/ 53039 w 250448"/>
                <a:gd name="connsiteY7" fmla="*/ 349023 h 365322"/>
                <a:gd name="connsiteX8" fmla="*/ 36998 w 250448"/>
                <a:gd name="connsiteY8" fmla="*/ 334275 h 365322"/>
                <a:gd name="connsiteX9" fmla="*/ 33376 w 250448"/>
                <a:gd name="connsiteY9" fmla="*/ 326255 h 365322"/>
                <a:gd name="connsiteX10" fmla="*/ 38033 w 250448"/>
                <a:gd name="connsiteY10" fmla="*/ 318234 h 365322"/>
                <a:gd name="connsiteX11" fmla="*/ 43207 w 250448"/>
                <a:gd name="connsiteY11" fmla="*/ 316682 h 365322"/>
                <a:gd name="connsiteX12" fmla="*/ 54850 w 250448"/>
                <a:gd name="connsiteY12" fmla="*/ 320304 h 365322"/>
                <a:gd name="connsiteX13" fmla="*/ 65458 w 250448"/>
                <a:gd name="connsiteY13" fmla="*/ 324961 h 365322"/>
                <a:gd name="connsiteX14" fmla="*/ 124189 w 250448"/>
                <a:gd name="connsiteY14" fmla="*/ 337121 h 365322"/>
                <a:gd name="connsiteX15" fmla="*/ 194563 w 250448"/>
                <a:gd name="connsiteY15" fmla="*/ 311507 h 365322"/>
                <a:gd name="connsiteX16" fmla="*/ 220177 w 250448"/>
                <a:gd name="connsiteY16" fmla="*/ 242427 h 365322"/>
                <a:gd name="connsiteX17" fmla="*/ 220177 w 250448"/>
                <a:gd name="connsiteY17" fmla="*/ 210863 h 365322"/>
                <a:gd name="connsiteX18" fmla="*/ 180333 w 250448"/>
                <a:gd name="connsiteY18" fmla="*/ 253553 h 365322"/>
                <a:gd name="connsiteX19" fmla="*/ 123154 w 250448"/>
                <a:gd name="connsiteY19" fmla="*/ 269076 h 365322"/>
                <a:gd name="connsiteX20" fmla="*/ 60283 w 250448"/>
                <a:gd name="connsiteY20" fmla="*/ 251742 h 365322"/>
                <a:gd name="connsiteX21" fmla="*/ 16041 w 250448"/>
                <a:gd name="connsiteY21" fmla="*/ 203618 h 365322"/>
                <a:gd name="connsiteX22" fmla="*/ 0 w 250448"/>
                <a:gd name="connsiteY22" fmla="*/ 134279 h 365322"/>
                <a:gd name="connsiteX23" fmla="*/ 16041 w 250448"/>
                <a:gd name="connsiteY23" fmla="*/ 65458 h 365322"/>
                <a:gd name="connsiteX24" fmla="*/ 60283 w 250448"/>
                <a:gd name="connsiteY24" fmla="*/ 17335 h 365322"/>
                <a:gd name="connsiteX25" fmla="*/ 122637 w 250448"/>
                <a:gd name="connsiteY25" fmla="*/ 0 h 365322"/>
                <a:gd name="connsiteX26" fmla="*/ 181109 w 250448"/>
                <a:gd name="connsiteY26" fmla="*/ 15782 h 365322"/>
                <a:gd name="connsiteX27" fmla="*/ 220177 w 250448"/>
                <a:gd name="connsiteY27" fmla="*/ 53815 h 365322"/>
                <a:gd name="connsiteX28" fmla="*/ 220177 w 250448"/>
                <a:gd name="connsiteY28" fmla="*/ 21474 h 365322"/>
                <a:gd name="connsiteX29" fmla="*/ 224575 w 250448"/>
                <a:gd name="connsiteY29" fmla="*/ 10349 h 365322"/>
                <a:gd name="connsiteX30" fmla="*/ 235442 w 250448"/>
                <a:gd name="connsiteY30" fmla="*/ 5692 h 365322"/>
                <a:gd name="connsiteX31" fmla="*/ 246050 w 250448"/>
                <a:gd name="connsiteY31" fmla="*/ 10090 h 365322"/>
                <a:gd name="connsiteX32" fmla="*/ 175417 w 250448"/>
                <a:gd name="connsiteY32" fmla="*/ 227162 h 365322"/>
                <a:gd name="connsiteX33" fmla="*/ 209828 w 250448"/>
                <a:gd name="connsiteY33" fmla="*/ 189388 h 365322"/>
                <a:gd name="connsiteX34" fmla="*/ 222247 w 250448"/>
                <a:gd name="connsiteY34" fmla="*/ 134021 h 365322"/>
                <a:gd name="connsiteX35" fmla="*/ 209828 w 250448"/>
                <a:gd name="connsiteY35" fmla="*/ 78912 h 365322"/>
                <a:gd name="connsiteX36" fmla="*/ 175417 w 250448"/>
                <a:gd name="connsiteY36" fmla="*/ 41396 h 365322"/>
                <a:gd name="connsiteX37" fmla="*/ 125741 w 250448"/>
                <a:gd name="connsiteY37" fmla="*/ 27943 h 365322"/>
                <a:gd name="connsiteX38" fmla="*/ 76583 w 250448"/>
                <a:gd name="connsiteY38" fmla="*/ 41914 h 365322"/>
                <a:gd name="connsiteX39" fmla="*/ 42173 w 250448"/>
                <a:gd name="connsiteY39" fmla="*/ 79947 h 365322"/>
                <a:gd name="connsiteX40" fmla="*/ 29754 w 250448"/>
                <a:gd name="connsiteY40" fmla="*/ 134021 h 365322"/>
                <a:gd name="connsiteX41" fmla="*/ 42173 w 250448"/>
                <a:gd name="connsiteY41" fmla="*/ 188612 h 365322"/>
                <a:gd name="connsiteX42" fmla="*/ 76583 w 250448"/>
                <a:gd name="connsiteY42" fmla="*/ 226645 h 365322"/>
                <a:gd name="connsiteX43" fmla="*/ 125741 w 250448"/>
                <a:gd name="connsiteY43" fmla="*/ 240616 h 365322"/>
                <a:gd name="connsiteX44" fmla="*/ 175417 w 250448"/>
                <a:gd name="connsiteY44" fmla="*/ 227162 h 365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50448" h="365322">
                  <a:moveTo>
                    <a:pt x="246050" y="10090"/>
                  </a:moveTo>
                  <a:cubicBezTo>
                    <a:pt x="248896" y="12936"/>
                    <a:pt x="250448" y="16817"/>
                    <a:pt x="250448" y="21474"/>
                  </a:cubicBezTo>
                  <a:lnTo>
                    <a:pt x="250448" y="240358"/>
                  </a:lnTo>
                  <a:cubicBezTo>
                    <a:pt x="250448" y="266748"/>
                    <a:pt x="245015" y="288998"/>
                    <a:pt x="234148" y="307885"/>
                  </a:cubicBezTo>
                  <a:cubicBezTo>
                    <a:pt x="223282" y="326514"/>
                    <a:pt x="208275" y="340744"/>
                    <a:pt x="189130" y="350575"/>
                  </a:cubicBezTo>
                  <a:cubicBezTo>
                    <a:pt x="169984" y="360407"/>
                    <a:pt x="148251" y="365323"/>
                    <a:pt x="123672" y="365323"/>
                  </a:cubicBezTo>
                  <a:cubicBezTo>
                    <a:pt x="111770" y="365323"/>
                    <a:pt x="99610" y="363770"/>
                    <a:pt x="86415" y="360666"/>
                  </a:cubicBezTo>
                  <a:cubicBezTo>
                    <a:pt x="73479" y="357561"/>
                    <a:pt x="62353" y="353680"/>
                    <a:pt x="53039" y="349023"/>
                  </a:cubicBezTo>
                  <a:cubicBezTo>
                    <a:pt x="43725" y="344366"/>
                    <a:pt x="38550" y="339450"/>
                    <a:pt x="36998" y="334275"/>
                  </a:cubicBezTo>
                  <a:cubicBezTo>
                    <a:pt x="34669" y="331947"/>
                    <a:pt x="33376" y="329101"/>
                    <a:pt x="33376" y="326255"/>
                  </a:cubicBezTo>
                  <a:cubicBezTo>
                    <a:pt x="33376" y="322891"/>
                    <a:pt x="34928" y="320304"/>
                    <a:pt x="38033" y="318234"/>
                  </a:cubicBezTo>
                  <a:cubicBezTo>
                    <a:pt x="39327" y="317200"/>
                    <a:pt x="41138" y="316682"/>
                    <a:pt x="43207" y="316682"/>
                  </a:cubicBezTo>
                  <a:cubicBezTo>
                    <a:pt x="45277" y="316682"/>
                    <a:pt x="49158" y="317976"/>
                    <a:pt x="54850" y="320304"/>
                  </a:cubicBezTo>
                  <a:lnTo>
                    <a:pt x="65458" y="324961"/>
                  </a:lnTo>
                  <a:cubicBezTo>
                    <a:pt x="86415" y="332982"/>
                    <a:pt x="105819" y="337121"/>
                    <a:pt x="124189" y="337121"/>
                  </a:cubicBezTo>
                  <a:cubicBezTo>
                    <a:pt x="154201" y="337121"/>
                    <a:pt x="177746" y="328583"/>
                    <a:pt x="194563" y="311507"/>
                  </a:cubicBezTo>
                  <a:cubicBezTo>
                    <a:pt x="211639" y="294432"/>
                    <a:pt x="220177" y="271405"/>
                    <a:pt x="220177" y="242427"/>
                  </a:cubicBezTo>
                  <a:lnTo>
                    <a:pt x="220177" y="210863"/>
                  </a:lnTo>
                  <a:cubicBezTo>
                    <a:pt x="211639" y="228974"/>
                    <a:pt x="198444" y="243204"/>
                    <a:pt x="180333" y="253553"/>
                  </a:cubicBezTo>
                  <a:cubicBezTo>
                    <a:pt x="162222" y="263902"/>
                    <a:pt x="143076" y="269076"/>
                    <a:pt x="123154" y="269076"/>
                  </a:cubicBezTo>
                  <a:cubicBezTo>
                    <a:pt x="99869" y="269076"/>
                    <a:pt x="78912" y="263384"/>
                    <a:pt x="60283" y="251742"/>
                  </a:cubicBezTo>
                  <a:cubicBezTo>
                    <a:pt x="41655" y="240099"/>
                    <a:pt x="26908" y="224058"/>
                    <a:pt x="16041" y="203618"/>
                  </a:cubicBezTo>
                  <a:cubicBezTo>
                    <a:pt x="5175" y="183179"/>
                    <a:pt x="0" y="159893"/>
                    <a:pt x="0" y="134279"/>
                  </a:cubicBezTo>
                  <a:cubicBezTo>
                    <a:pt x="0" y="108924"/>
                    <a:pt x="5433" y="86156"/>
                    <a:pt x="16041" y="65458"/>
                  </a:cubicBezTo>
                  <a:cubicBezTo>
                    <a:pt x="26908" y="45019"/>
                    <a:pt x="41655" y="28719"/>
                    <a:pt x="60283" y="17335"/>
                  </a:cubicBezTo>
                  <a:cubicBezTo>
                    <a:pt x="78912" y="5692"/>
                    <a:pt x="99869" y="0"/>
                    <a:pt x="122637" y="0"/>
                  </a:cubicBezTo>
                  <a:cubicBezTo>
                    <a:pt x="143852" y="0"/>
                    <a:pt x="163257" y="5175"/>
                    <a:pt x="181109" y="15782"/>
                  </a:cubicBezTo>
                  <a:cubicBezTo>
                    <a:pt x="198703" y="26390"/>
                    <a:pt x="211898" y="39068"/>
                    <a:pt x="220177" y="53815"/>
                  </a:cubicBezTo>
                  <a:lnTo>
                    <a:pt x="220177" y="21474"/>
                  </a:lnTo>
                  <a:cubicBezTo>
                    <a:pt x="220177" y="17076"/>
                    <a:pt x="221729" y="13454"/>
                    <a:pt x="224575" y="10349"/>
                  </a:cubicBezTo>
                  <a:cubicBezTo>
                    <a:pt x="227421" y="7244"/>
                    <a:pt x="231043" y="5692"/>
                    <a:pt x="235442" y="5692"/>
                  </a:cubicBezTo>
                  <a:cubicBezTo>
                    <a:pt x="239581" y="5692"/>
                    <a:pt x="243204" y="7244"/>
                    <a:pt x="246050" y="10090"/>
                  </a:cubicBezTo>
                  <a:close/>
                  <a:moveTo>
                    <a:pt x="175417" y="227162"/>
                  </a:moveTo>
                  <a:cubicBezTo>
                    <a:pt x="190165" y="218366"/>
                    <a:pt x="201549" y="205688"/>
                    <a:pt x="209828" y="189388"/>
                  </a:cubicBezTo>
                  <a:cubicBezTo>
                    <a:pt x="218107" y="173088"/>
                    <a:pt x="222247" y="154719"/>
                    <a:pt x="222247" y="134021"/>
                  </a:cubicBezTo>
                  <a:cubicBezTo>
                    <a:pt x="222247" y="113581"/>
                    <a:pt x="218107" y="95212"/>
                    <a:pt x="209828" y="78912"/>
                  </a:cubicBezTo>
                  <a:cubicBezTo>
                    <a:pt x="201549" y="62871"/>
                    <a:pt x="190165" y="50193"/>
                    <a:pt x="175417" y="41396"/>
                  </a:cubicBezTo>
                  <a:cubicBezTo>
                    <a:pt x="160670" y="32600"/>
                    <a:pt x="144111" y="27943"/>
                    <a:pt x="125741" y="27943"/>
                  </a:cubicBezTo>
                  <a:cubicBezTo>
                    <a:pt x="107631" y="27943"/>
                    <a:pt x="91072" y="32600"/>
                    <a:pt x="76583" y="41914"/>
                  </a:cubicBezTo>
                  <a:cubicBezTo>
                    <a:pt x="61836" y="51228"/>
                    <a:pt x="50452" y="63906"/>
                    <a:pt x="42173" y="79947"/>
                  </a:cubicBezTo>
                  <a:cubicBezTo>
                    <a:pt x="33893" y="95988"/>
                    <a:pt x="29754" y="114099"/>
                    <a:pt x="29754" y="134021"/>
                  </a:cubicBezTo>
                  <a:cubicBezTo>
                    <a:pt x="29754" y="154201"/>
                    <a:pt x="33893" y="172312"/>
                    <a:pt x="42173" y="188612"/>
                  </a:cubicBezTo>
                  <a:cubicBezTo>
                    <a:pt x="50452" y="204653"/>
                    <a:pt x="61836" y="217590"/>
                    <a:pt x="76583" y="226645"/>
                  </a:cubicBezTo>
                  <a:cubicBezTo>
                    <a:pt x="91331" y="235959"/>
                    <a:pt x="107631" y="240616"/>
                    <a:pt x="125741" y="240616"/>
                  </a:cubicBezTo>
                  <a:cubicBezTo>
                    <a:pt x="144111" y="240616"/>
                    <a:pt x="160670" y="236218"/>
                    <a:pt x="175417" y="227162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EF872B7E-BA5A-CE53-D5F4-5431E417DDE8}"/>
                </a:ext>
              </a:extLst>
            </p:cNvPr>
            <p:cNvSpPr/>
            <p:nvPr/>
          </p:nvSpPr>
          <p:spPr>
            <a:xfrm>
              <a:off x="2337752" y="3986902"/>
              <a:ext cx="30529" cy="373860"/>
            </a:xfrm>
            <a:custGeom>
              <a:avLst/>
              <a:gdLst>
                <a:gd name="connsiteX0" fmla="*/ 26131 w 30529"/>
                <a:gd name="connsiteY0" fmla="*/ 369462 h 373860"/>
                <a:gd name="connsiteX1" fmla="*/ 15265 w 30529"/>
                <a:gd name="connsiteY1" fmla="*/ 373861 h 373860"/>
                <a:gd name="connsiteX2" fmla="*/ 4398 w 30529"/>
                <a:gd name="connsiteY2" fmla="*/ 369462 h 373860"/>
                <a:gd name="connsiteX3" fmla="*/ 0 w 30529"/>
                <a:gd name="connsiteY3" fmla="*/ 358596 h 373860"/>
                <a:gd name="connsiteX4" fmla="*/ 0 w 30529"/>
                <a:gd name="connsiteY4" fmla="*/ 15265 h 373860"/>
                <a:gd name="connsiteX5" fmla="*/ 4398 w 30529"/>
                <a:gd name="connsiteY5" fmla="*/ 4398 h 373860"/>
                <a:gd name="connsiteX6" fmla="*/ 15265 w 30529"/>
                <a:gd name="connsiteY6" fmla="*/ 0 h 373860"/>
                <a:gd name="connsiteX7" fmla="*/ 26131 w 30529"/>
                <a:gd name="connsiteY7" fmla="*/ 4398 h 373860"/>
                <a:gd name="connsiteX8" fmla="*/ 30530 w 30529"/>
                <a:gd name="connsiteY8" fmla="*/ 15265 h 373860"/>
                <a:gd name="connsiteX9" fmla="*/ 30530 w 30529"/>
                <a:gd name="connsiteY9" fmla="*/ 358855 h 373860"/>
                <a:gd name="connsiteX10" fmla="*/ 26131 w 30529"/>
                <a:gd name="connsiteY10" fmla="*/ 369462 h 373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529" h="373860">
                  <a:moveTo>
                    <a:pt x="26131" y="369462"/>
                  </a:moveTo>
                  <a:cubicBezTo>
                    <a:pt x="23285" y="372308"/>
                    <a:pt x="19663" y="373861"/>
                    <a:pt x="15265" y="373861"/>
                  </a:cubicBezTo>
                  <a:cubicBezTo>
                    <a:pt x="10867" y="373861"/>
                    <a:pt x="7244" y="372308"/>
                    <a:pt x="4398" y="369462"/>
                  </a:cubicBezTo>
                  <a:cubicBezTo>
                    <a:pt x="1552" y="366616"/>
                    <a:pt x="0" y="362994"/>
                    <a:pt x="0" y="358596"/>
                  </a:cubicBezTo>
                  <a:lnTo>
                    <a:pt x="0" y="15265"/>
                  </a:lnTo>
                  <a:cubicBezTo>
                    <a:pt x="0" y="10867"/>
                    <a:pt x="1552" y="7244"/>
                    <a:pt x="4398" y="4398"/>
                  </a:cubicBezTo>
                  <a:cubicBezTo>
                    <a:pt x="7244" y="1552"/>
                    <a:pt x="10867" y="0"/>
                    <a:pt x="15265" y="0"/>
                  </a:cubicBezTo>
                  <a:cubicBezTo>
                    <a:pt x="19663" y="0"/>
                    <a:pt x="23285" y="1552"/>
                    <a:pt x="26131" y="4398"/>
                  </a:cubicBezTo>
                  <a:cubicBezTo>
                    <a:pt x="28977" y="7244"/>
                    <a:pt x="30530" y="10867"/>
                    <a:pt x="30530" y="15265"/>
                  </a:cubicBezTo>
                  <a:lnTo>
                    <a:pt x="30530" y="358855"/>
                  </a:lnTo>
                  <a:cubicBezTo>
                    <a:pt x="30530" y="362994"/>
                    <a:pt x="28977" y="366616"/>
                    <a:pt x="26131" y="369462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12E6AC2-BB71-02B0-4DF0-6F537990BE5C}"/>
                </a:ext>
              </a:extLst>
            </p:cNvPr>
            <p:cNvSpPr/>
            <p:nvPr/>
          </p:nvSpPr>
          <p:spPr>
            <a:xfrm>
              <a:off x="2433999" y="4096602"/>
              <a:ext cx="242168" cy="269334"/>
            </a:xfrm>
            <a:custGeom>
              <a:avLst/>
              <a:gdLst>
                <a:gd name="connsiteX0" fmla="*/ 237770 w 242168"/>
                <a:gd name="connsiteY0" fmla="*/ 10608 h 269334"/>
                <a:gd name="connsiteX1" fmla="*/ 242169 w 242168"/>
                <a:gd name="connsiteY1" fmla="*/ 21733 h 269334"/>
                <a:gd name="connsiteX2" fmla="*/ 242169 w 242168"/>
                <a:gd name="connsiteY2" fmla="*/ 249154 h 269334"/>
                <a:gd name="connsiteX3" fmla="*/ 237770 w 242168"/>
                <a:gd name="connsiteY3" fmla="*/ 260021 h 269334"/>
                <a:gd name="connsiteX4" fmla="*/ 226904 w 242168"/>
                <a:gd name="connsiteY4" fmla="*/ 264419 h 269334"/>
                <a:gd name="connsiteX5" fmla="*/ 216037 w 242168"/>
                <a:gd name="connsiteY5" fmla="*/ 260021 h 269334"/>
                <a:gd name="connsiteX6" fmla="*/ 211639 w 242168"/>
                <a:gd name="connsiteY6" fmla="*/ 249154 h 269334"/>
                <a:gd name="connsiteX7" fmla="*/ 211639 w 242168"/>
                <a:gd name="connsiteY7" fmla="*/ 215261 h 269334"/>
                <a:gd name="connsiteX8" fmla="*/ 173865 w 242168"/>
                <a:gd name="connsiteY8" fmla="*/ 253553 h 269334"/>
                <a:gd name="connsiteX9" fmla="*/ 118756 w 242168"/>
                <a:gd name="connsiteY9" fmla="*/ 269335 h 269334"/>
                <a:gd name="connsiteX10" fmla="*/ 57955 w 242168"/>
                <a:gd name="connsiteY10" fmla="*/ 251742 h 269334"/>
                <a:gd name="connsiteX11" fmla="*/ 15524 w 242168"/>
                <a:gd name="connsiteY11" fmla="*/ 203360 h 269334"/>
                <a:gd name="connsiteX12" fmla="*/ 0 w 242168"/>
                <a:gd name="connsiteY12" fmla="*/ 134021 h 269334"/>
                <a:gd name="connsiteX13" fmla="*/ 15782 w 242168"/>
                <a:gd name="connsiteY13" fmla="*/ 64941 h 269334"/>
                <a:gd name="connsiteX14" fmla="*/ 58472 w 242168"/>
                <a:gd name="connsiteY14" fmla="*/ 17076 h 269334"/>
                <a:gd name="connsiteX15" fmla="*/ 118238 w 242168"/>
                <a:gd name="connsiteY15" fmla="*/ 0 h 269334"/>
                <a:gd name="connsiteX16" fmla="*/ 173865 w 242168"/>
                <a:gd name="connsiteY16" fmla="*/ 14747 h 269334"/>
                <a:gd name="connsiteX17" fmla="*/ 211639 w 242168"/>
                <a:gd name="connsiteY17" fmla="*/ 53039 h 269334"/>
                <a:gd name="connsiteX18" fmla="*/ 211639 w 242168"/>
                <a:gd name="connsiteY18" fmla="*/ 21733 h 269334"/>
                <a:gd name="connsiteX19" fmla="*/ 216037 w 242168"/>
                <a:gd name="connsiteY19" fmla="*/ 10608 h 269334"/>
                <a:gd name="connsiteX20" fmla="*/ 226904 w 242168"/>
                <a:gd name="connsiteY20" fmla="*/ 5951 h 269334"/>
                <a:gd name="connsiteX21" fmla="*/ 237770 w 242168"/>
                <a:gd name="connsiteY21" fmla="*/ 10608 h 269334"/>
                <a:gd name="connsiteX22" fmla="*/ 168949 w 242168"/>
                <a:gd name="connsiteY22" fmla="*/ 226904 h 269334"/>
                <a:gd name="connsiteX23" fmla="*/ 201807 w 242168"/>
                <a:gd name="connsiteY23" fmla="*/ 188612 h 269334"/>
                <a:gd name="connsiteX24" fmla="*/ 213709 w 242168"/>
                <a:gd name="connsiteY24" fmla="*/ 133762 h 269334"/>
                <a:gd name="connsiteX25" fmla="*/ 201807 w 242168"/>
                <a:gd name="connsiteY25" fmla="*/ 80205 h 269334"/>
                <a:gd name="connsiteX26" fmla="*/ 168949 w 242168"/>
                <a:gd name="connsiteY26" fmla="*/ 42173 h 269334"/>
                <a:gd name="connsiteX27" fmla="*/ 121602 w 242168"/>
                <a:gd name="connsiteY27" fmla="*/ 28201 h 269334"/>
                <a:gd name="connsiteX28" fmla="*/ 74255 w 242168"/>
                <a:gd name="connsiteY28" fmla="*/ 41914 h 269334"/>
                <a:gd name="connsiteX29" fmla="*/ 41396 w 242168"/>
                <a:gd name="connsiteY29" fmla="*/ 79429 h 269334"/>
                <a:gd name="connsiteX30" fmla="*/ 29495 w 242168"/>
                <a:gd name="connsiteY30" fmla="*/ 133762 h 269334"/>
                <a:gd name="connsiteX31" fmla="*/ 41138 w 242168"/>
                <a:gd name="connsiteY31" fmla="*/ 188612 h 269334"/>
                <a:gd name="connsiteX32" fmla="*/ 73737 w 242168"/>
                <a:gd name="connsiteY32" fmla="*/ 226904 h 269334"/>
                <a:gd name="connsiteX33" fmla="*/ 121602 w 242168"/>
                <a:gd name="connsiteY33" fmla="*/ 240875 h 269334"/>
                <a:gd name="connsiteX34" fmla="*/ 168949 w 242168"/>
                <a:gd name="connsiteY34" fmla="*/ 226904 h 26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42168" h="269334">
                  <a:moveTo>
                    <a:pt x="237770" y="10608"/>
                  </a:moveTo>
                  <a:cubicBezTo>
                    <a:pt x="240616" y="13713"/>
                    <a:pt x="242169" y="17335"/>
                    <a:pt x="242169" y="21733"/>
                  </a:cubicBezTo>
                  <a:lnTo>
                    <a:pt x="242169" y="249154"/>
                  </a:lnTo>
                  <a:cubicBezTo>
                    <a:pt x="242169" y="253553"/>
                    <a:pt x="240616" y="257175"/>
                    <a:pt x="237770" y="260021"/>
                  </a:cubicBezTo>
                  <a:cubicBezTo>
                    <a:pt x="234924" y="262867"/>
                    <a:pt x="231302" y="264419"/>
                    <a:pt x="226904" y="264419"/>
                  </a:cubicBezTo>
                  <a:cubicBezTo>
                    <a:pt x="222505" y="264419"/>
                    <a:pt x="218883" y="262867"/>
                    <a:pt x="216037" y="260021"/>
                  </a:cubicBezTo>
                  <a:cubicBezTo>
                    <a:pt x="213191" y="257175"/>
                    <a:pt x="211639" y="253553"/>
                    <a:pt x="211639" y="249154"/>
                  </a:cubicBezTo>
                  <a:lnTo>
                    <a:pt x="211639" y="215261"/>
                  </a:lnTo>
                  <a:cubicBezTo>
                    <a:pt x="203101" y="230526"/>
                    <a:pt x="190682" y="243204"/>
                    <a:pt x="173865" y="253553"/>
                  </a:cubicBezTo>
                  <a:cubicBezTo>
                    <a:pt x="157047" y="263902"/>
                    <a:pt x="138678" y="269335"/>
                    <a:pt x="118756" y="269335"/>
                  </a:cubicBezTo>
                  <a:cubicBezTo>
                    <a:pt x="96247" y="269335"/>
                    <a:pt x="75807" y="263384"/>
                    <a:pt x="57955" y="251742"/>
                  </a:cubicBezTo>
                  <a:cubicBezTo>
                    <a:pt x="39844" y="239840"/>
                    <a:pt x="25873" y="223799"/>
                    <a:pt x="15524" y="203360"/>
                  </a:cubicBezTo>
                  <a:cubicBezTo>
                    <a:pt x="5175" y="182920"/>
                    <a:pt x="0" y="159635"/>
                    <a:pt x="0" y="134021"/>
                  </a:cubicBezTo>
                  <a:cubicBezTo>
                    <a:pt x="0" y="108407"/>
                    <a:pt x="5175" y="85380"/>
                    <a:pt x="15782" y="64941"/>
                  </a:cubicBezTo>
                  <a:cubicBezTo>
                    <a:pt x="26131" y="44501"/>
                    <a:pt x="40361" y="28719"/>
                    <a:pt x="58472" y="17076"/>
                  </a:cubicBezTo>
                  <a:cubicBezTo>
                    <a:pt x="76583" y="5692"/>
                    <a:pt x="96505" y="0"/>
                    <a:pt x="118238" y="0"/>
                  </a:cubicBezTo>
                  <a:cubicBezTo>
                    <a:pt x="138419" y="0"/>
                    <a:pt x="157047" y="4916"/>
                    <a:pt x="173865" y="14747"/>
                  </a:cubicBezTo>
                  <a:cubicBezTo>
                    <a:pt x="190682" y="24579"/>
                    <a:pt x="203360" y="37257"/>
                    <a:pt x="211639" y="53039"/>
                  </a:cubicBezTo>
                  <a:lnTo>
                    <a:pt x="211639" y="21733"/>
                  </a:lnTo>
                  <a:cubicBezTo>
                    <a:pt x="211639" y="17335"/>
                    <a:pt x="213191" y="13713"/>
                    <a:pt x="216037" y="10608"/>
                  </a:cubicBezTo>
                  <a:cubicBezTo>
                    <a:pt x="218883" y="7503"/>
                    <a:pt x="222505" y="5951"/>
                    <a:pt x="226904" y="5951"/>
                  </a:cubicBezTo>
                  <a:cubicBezTo>
                    <a:pt x="231043" y="5951"/>
                    <a:pt x="234666" y="7503"/>
                    <a:pt x="237770" y="10608"/>
                  </a:cubicBezTo>
                  <a:close/>
                  <a:moveTo>
                    <a:pt x="168949" y="226904"/>
                  </a:moveTo>
                  <a:cubicBezTo>
                    <a:pt x="182920" y="217590"/>
                    <a:pt x="193787" y="204912"/>
                    <a:pt x="201807" y="188612"/>
                  </a:cubicBezTo>
                  <a:cubicBezTo>
                    <a:pt x="209828" y="172312"/>
                    <a:pt x="213709" y="153943"/>
                    <a:pt x="213709" y="133762"/>
                  </a:cubicBezTo>
                  <a:cubicBezTo>
                    <a:pt x="213709" y="114357"/>
                    <a:pt x="209828" y="96246"/>
                    <a:pt x="201807" y="80205"/>
                  </a:cubicBezTo>
                  <a:cubicBezTo>
                    <a:pt x="193787" y="64164"/>
                    <a:pt x="182920" y="51228"/>
                    <a:pt x="168949" y="42173"/>
                  </a:cubicBezTo>
                  <a:cubicBezTo>
                    <a:pt x="154978" y="32858"/>
                    <a:pt x="139195" y="28201"/>
                    <a:pt x="121602" y="28201"/>
                  </a:cubicBezTo>
                  <a:cubicBezTo>
                    <a:pt x="104008" y="28201"/>
                    <a:pt x="88226" y="32858"/>
                    <a:pt x="74255" y="41914"/>
                  </a:cubicBezTo>
                  <a:cubicBezTo>
                    <a:pt x="60283" y="50969"/>
                    <a:pt x="49417" y="63647"/>
                    <a:pt x="41396" y="79429"/>
                  </a:cubicBezTo>
                  <a:cubicBezTo>
                    <a:pt x="33376" y="95470"/>
                    <a:pt x="29495" y="113581"/>
                    <a:pt x="29495" y="133762"/>
                  </a:cubicBezTo>
                  <a:cubicBezTo>
                    <a:pt x="29495" y="153943"/>
                    <a:pt x="33376" y="172312"/>
                    <a:pt x="41138" y="188612"/>
                  </a:cubicBezTo>
                  <a:cubicBezTo>
                    <a:pt x="48899" y="204912"/>
                    <a:pt x="59766" y="217848"/>
                    <a:pt x="73737" y="226904"/>
                  </a:cubicBezTo>
                  <a:cubicBezTo>
                    <a:pt x="87709" y="236218"/>
                    <a:pt x="103750" y="240875"/>
                    <a:pt x="121602" y="240875"/>
                  </a:cubicBezTo>
                  <a:cubicBezTo>
                    <a:pt x="139195" y="240875"/>
                    <a:pt x="154978" y="236218"/>
                    <a:pt x="168949" y="226904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CB5C5A6-249E-817F-E68C-3BD7E09D73AB}"/>
                </a:ext>
              </a:extLst>
            </p:cNvPr>
            <p:cNvSpPr/>
            <p:nvPr/>
          </p:nvSpPr>
          <p:spPr>
            <a:xfrm>
              <a:off x="2736451" y="4096602"/>
              <a:ext cx="193269" cy="269334"/>
            </a:xfrm>
            <a:custGeom>
              <a:avLst/>
              <a:gdLst>
                <a:gd name="connsiteX0" fmla="*/ 0 w 193269"/>
                <a:gd name="connsiteY0" fmla="*/ 212156 h 269334"/>
                <a:gd name="connsiteX1" fmla="*/ 6468 w 193269"/>
                <a:gd name="connsiteY1" fmla="*/ 202066 h 269334"/>
                <a:gd name="connsiteX2" fmla="*/ 14489 w 193269"/>
                <a:gd name="connsiteY2" fmla="*/ 198961 h 269334"/>
                <a:gd name="connsiteX3" fmla="*/ 25614 w 193269"/>
                <a:gd name="connsiteY3" fmla="*/ 204136 h 269334"/>
                <a:gd name="connsiteX4" fmla="*/ 105043 w 193269"/>
                <a:gd name="connsiteY4" fmla="*/ 243462 h 269334"/>
                <a:gd name="connsiteX5" fmla="*/ 147216 w 193269"/>
                <a:gd name="connsiteY5" fmla="*/ 232078 h 269334"/>
                <a:gd name="connsiteX6" fmla="*/ 165068 w 193269"/>
                <a:gd name="connsiteY6" fmla="*/ 198961 h 269334"/>
                <a:gd name="connsiteX7" fmla="*/ 148509 w 193269"/>
                <a:gd name="connsiteY7" fmla="*/ 167138 h 269334"/>
                <a:gd name="connsiteX8" fmla="*/ 101939 w 193269"/>
                <a:gd name="connsiteY8" fmla="*/ 149027 h 269334"/>
                <a:gd name="connsiteX9" fmla="*/ 36222 w 193269"/>
                <a:gd name="connsiteY9" fmla="*/ 121602 h 269334"/>
                <a:gd name="connsiteX10" fmla="*/ 12419 w 193269"/>
                <a:gd name="connsiteY10" fmla="*/ 71926 h 269334"/>
                <a:gd name="connsiteX11" fmla="*/ 24062 w 193269"/>
                <a:gd name="connsiteY11" fmla="*/ 34669 h 269334"/>
                <a:gd name="connsiteX12" fmla="*/ 55626 w 193269"/>
                <a:gd name="connsiteY12" fmla="*/ 9055 h 269334"/>
                <a:gd name="connsiteX13" fmla="*/ 100904 w 193269"/>
                <a:gd name="connsiteY13" fmla="*/ 0 h 269334"/>
                <a:gd name="connsiteX14" fmla="*/ 144629 w 193269"/>
                <a:gd name="connsiteY14" fmla="*/ 8279 h 269334"/>
                <a:gd name="connsiteX15" fmla="*/ 182144 w 193269"/>
                <a:gd name="connsiteY15" fmla="*/ 34928 h 269334"/>
                <a:gd name="connsiteX16" fmla="*/ 186801 w 193269"/>
                <a:gd name="connsiteY16" fmla="*/ 45019 h 269334"/>
                <a:gd name="connsiteX17" fmla="*/ 181627 w 193269"/>
                <a:gd name="connsiteY17" fmla="*/ 55626 h 269334"/>
                <a:gd name="connsiteX18" fmla="*/ 172571 w 193269"/>
                <a:gd name="connsiteY18" fmla="*/ 58731 h 269334"/>
                <a:gd name="connsiteX19" fmla="*/ 163516 w 193269"/>
                <a:gd name="connsiteY19" fmla="*/ 54591 h 269334"/>
                <a:gd name="connsiteX20" fmla="*/ 134797 w 193269"/>
                <a:gd name="connsiteY20" fmla="*/ 33893 h 269334"/>
                <a:gd name="connsiteX21" fmla="*/ 98834 w 193269"/>
                <a:gd name="connsiteY21" fmla="*/ 26908 h 269334"/>
                <a:gd name="connsiteX22" fmla="*/ 58214 w 193269"/>
                <a:gd name="connsiteY22" fmla="*/ 38033 h 269334"/>
                <a:gd name="connsiteX23" fmla="*/ 41396 w 193269"/>
                <a:gd name="connsiteY23" fmla="*/ 71409 h 269334"/>
                <a:gd name="connsiteX24" fmla="*/ 59766 w 193269"/>
                <a:gd name="connsiteY24" fmla="*/ 102197 h 269334"/>
                <a:gd name="connsiteX25" fmla="*/ 110994 w 193269"/>
                <a:gd name="connsiteY25" fmla="*/ 121343 h 269334"/>
                <a:gd name="connsiteX26" fmla="*/ 154460 w 193269"/>
                <a:gd name="connsiteY26" fmla="*/ 136090 h 269334"/>
                <a:gd name="connsiteX27" fmla="*/ 182403 w 193269"/>
                <a:gd name="connsiteY27" fmla="*/ 158858 h 269334"/>
                <a:gd name="connsiteX28" fmla="*/ 193269 w 193269"/>
                <a:gd name="connsiteY28" fmla="*/ 197668 h 269334"/>
                <a:gd name="connsiteX29" fmla="*/ 166879 w 193269"/>
                <a:gd name="connsiteY29" fmla="*/ 249930 h 269334"/>
                <a:gd name="connsiteX30" fmla="*/ 101680 w 193269"/>
                <a:gd name="connsiteY30" fmla="*/ 269335 h 269334"/>
                <a:gd name="connsiteX31" fmla="*/ 3622 w 193269"/>
                <a:gd name="connsiteY31" fmla="*/ 223282 h 269334"/>
                <a:gd name="connsiteX32" fmla="*/ 0 w 193269"/>
                <a:gd name="connsiteY32" fmla="*/ 212156 h 26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93269" h="269334">
                  <a:moveTo>
                    <a:pt x="0" y="212156"/>
                  </a:moveTo>
                  <a:cubicBezTo>
                    <a:pt x="0" y="207758"/>
                    <a:pt x="2070" y="204394"/>
                    <a:pt x="6468" y="202066"/>
                  </a:cubicBezTo>
                  <a:cubicBezTo>
                    <a:pt x="8538" y="199996"/>
                    <a:pt x="11125" y="198961"/>
                    <a:pt x="14489" y="198961"/>
                  </a:cubicBezTo>
                  <a:cubicBezTo>
                    <a:pt x="18628" y="198961"/>
                    <a:pt x="22251" y="200772"/>
                    <a:pt x="25614" y="204136"/>
                  </a:cubicBezTo>
                  <a:cubicBezTo>
                    <a:pt x="45536" y="230526"/>
                    <a:pt x="71926" y="243462"/>
                    <a:pt x="105043" y="243462"/>
                  </a:cubicBezTo>
                  <a:cubicBezTo>
                    <a:pt x="121084" y="243462"/>
                    <a:pt x="135314" y="239581"/>
                    <a:pt x="147216" y="232078"/>
                  </a:cubicBezTo>
                  <a:cubicBezTo>
                    <a:pt x="159117" y="224575"/>
                    <a:pt x="165068" y="213450"/>
                    <a:pt x="165068" y="198961"/>
                  </a:cubicBezTo>
                  <a:cubicBezTo>
                    <a:pt x="165068" y="184731"/>
                    <a:pt x="159635" y="174123"/>
                    <a:pt x="148509" y="167138"/>
                  </a:cubicBezTo>
                  <a:cubicBezTo>
                    <a:pt x="137384" y="160152"/>
                    <a:pt x="121861" y="153943"/>
                    <a:pt x="101939" y="149027"/>
                  </a:cubicBezTo>
                  <a:cubicBezTo>
                    <a:pt x="73996" y="142041"/>
                    <a:pt x="52004" y="132727"/>
                    <a:pt x="36222" y="121602"/>
                  </a:cubicBezTo>
                  <a:cubicBezTo>
                    <a:pt x="20439" y="110218"/>
                    <a:pt x="12419" y="93659"/>
                    <a:pt x="12419" y="71926"/>
                  </a:cubicBezTo>
                  <a:cubicBezTo>
                    <a:pt x="12419" y="58214"/>
                    <a:pt x="16300" y="45795"/>
                    <a:pt x="24062" y="34669"/>
                  </a:cubicBezTo>
                  <a:cubicBezTo>
                    <a:pt x="31824" y="23803"/>
                    <a:pt x="42431" y="15265"/>
                    <a:pt x="55626" y="9055"/>
                  </a:cubicBezTo>
                  <a:cubicBezTo>
                    <a:pt x="68821" y="3105"/>
                    <a:pt x="84086" y="0"/>
                    <a:pt x="100904" y="0"/>
                  </a:cubicBezTo>
                  <a:cubicBezTo>
                    <a:pt x="115392" y="0"/>
                    <a:pt x="129881" y="2846"/>
                    <a:pt x="144629" y="8279"/>
                  </a:cubicBezTo>
                  <a:cubicBezTo>
                    <a:pt x="159376" y="13713"/>
                    <a:pt x="171795" y="22768"/>
                    <a:pt x="182144" y="34928"/>
                  </a:cubicBezTo>
                  <a:cubicBezTo>
                    <a:pt x="185249" y="37257"/>
                    <a:pt x="186801" y="40620"/>
                    <a:pt x="186801" y="45019"/>
                  </a:cubicBezTo>
                  <a:cubicBezTo>
                    <a:pt x="186801" y="49158"/>
                    <a:pt x="184990" y="52522"/>
                    <a:pt x="181627" y="55626"/>
                  </a:cubicBezTo>
                  <a:cubicBezTo>
                    <a:pt x="179298" y="57696"/>
                    <a:pt x="176193" y="58731"/>
                    <a:pt x="172571" y="58731"/>
                  </a:cubicBezTo>
                  <a:cubicBezTo>
                    <a:pt x="169208" y="58731"/>
                    <a:pt x="166103" y="57437"/>
                    <a:pt x="163516" y="54591"/>
                  </a:cubicBezTo>
                  <a:cubicBezTo>
                    <a:pt x="155495" y="45536"/>
                    <a:pt x="145922" y="38550"/>
                    <a:pt x="134797" y="33893"/>
                  </a:cubicBezTo>
                  <a:cubicBezTo>
                    <a:pt x="123672" y="29236"/>
                    <a:pt x="111770" y="26908"/>
                    <a:pt x="98834" y="26908"/>
                  </a:cubicBezTo>
                  <a:cubicBezTo>
                    <a:pt x="83051" y="26908"/>
                    <a:pt x="69339" y="30530"/>
                    <a:pt x="58214" y="38033"/>
                  </a:cubicBezTo>
                  <a:cubicBezTo>
                    <a:pt x="46830" y="45536"/>
                    <a:pt x="41396" y="56661"/>
                    <a:pt x="41396" y="71409"/>
                  </a:cubicBezTo>
                  <a:cubicBezTo>
                    <a:pt x="42173" y="84862"/>
                    <a:pt x="48123" y="95212"/>
                    <a:pt x="59766" y="102197"/>
                  </a:cubicBezTo>
                  <a:cubicBezTo>
                    <a:pt x="71409" y="109183"/>
                    <a:pt x="88485" y="115651"/>
                    <a:pt x="110994" y="121343"/>
                  </a:cubicBezTo>
                  <a:cubicBezTo>
                    <a:pt x="128588" y="125741"/>
                    <a:pt x="143076" y="130657"/>
                    <a:pt x="154460" y="136090"/>
                  </a:cubicBezTo>
                  <a:cubicBezTo>
                    <a:pt x="165844" y="141524"/>
                    <a:pt x="175158" y="149027"/>
                    <a:pt x="182403" y="158858"/>
                  </a:cubicBezTo>
                  <a:cubicBezTo>
                    <a:pt x="189647" y="168690"/>
                    <a:pt x="193269" y="181626"/>
                    <a:pt x="193269" y="197668"/>
                  </a:cubicBezTo>
                  <a:cubicBezTo>
                    <a:pt x="193269" y="219659"/>
                    <a:pt x="184473" y="236994"/>
                    <a:pt x="166879" y="249930"/>
                  </a:cubicBezTo>
                  <a:cubicBezTo>
                    <a:pt x="149286" y="262867"/>
                    <a:pt x="127553" y="269335"/>
                    <a:pt x="101680" y="269335"/>
                  </a:cubicBezTo>
                  <a:cubicBezTo>
                    <a:pt x="60542" y="269335"/>
                    <a:pt x="27943" y="254070"/>
                    <a:pt x="3622" y="223282"/>
                  </a:cubicBezTo>
                  <a:cubicBezTo>
                    <a:pt x="1552" y="218883"/>
                    <a:pt x="0" y="215261"/>
                    <a:pt x="0" y="212156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C22C3063-F680-5053-8315-68CBA5799145}"/>
                </a:ext>
              </a:extLst>
            </p:cNvPr>
            <p:cNvSpPr/>
            <p:nvPr/>
          </p:nvSpPr>
          <p:spPr>
            <a:xfrm>
              <a:off x="2973445" y="4096602"/>
              <a:ext cx="193269" cy="269334"/>
            </a:xfrm>
            <a:custGeom>
              <a:avLst/>
              <a:gdLst>
                <a:gd name="connsiteX0" fmla="*/ 0 w 193269"/>
                <a:gd name="connsiteY0" fmla="*/ 212156 h 269334"/>
                <a:gd name="connsiteX1" fmla="*/ 6468 w 193269"/>
                <a:gd name="connsiteY1" fmla="*/ 202066 h 269334"/>
                <a:gd name="connsiteX2" fmla="*/ 14489 w 193269"/>
                <a:gd name="connsiteY2" fmla="*/ 198961 h 269334"/>
                <a:gd name="connsiteX3" fmla="*/ 25614 w 193269"/>
                <a:gd name="connsiteY3" fmla="*/ 204136 h 269334"/>
                <a:gd name="connsiteX4" fmla="*/ 105043 w 193269"/>
                <a:gd name="connsiteY4" fmla="*/ 243462 h 269334"/>
                <a:gd name="connsiteX5" fmla="*/ 147216 w 193269"/>
                <a:gd name="connsiteY5" fmla="*/ 232078 h 269334"/>
                <a:gd name="connsiteX6" fmla="*/ 165068 w 193269"/>
                <a:gd name="connsiteY6" fmla="*/ 198961 h 269334"/>
                <a:gd name="connsiteX7" fmla="*/ 148509 w 193269"/>
                <a:gd name="connsiteY7" fmla="*/ 167138 h 269334"/>
                <a:gd name="connsiteX8" fmla="*/ 101939 w 193269"/>
                <a:gd name="connsiteY8" fmla="*/ 149027 h 269334"/>
                <a:gd name="connsiteX9" fmla="*/ 36222 w 193269"/>
                <a:gd name="connsiteY9" fmla="*/ 121602 h 269334"/>
                <a:gd name="connsiteX10" fmla="*/ 12419 w 193269"/>
                <a:gd name="connsiteY10" fmla="*/ 71926 h 269334"/>
                <a:gd name="connsiteX11" fmla="*/ 24062 w 193269"/>
                <a:gd name="connsiteY11" fmla="*/ 34669 h 269334"/>
                <a:gd name="connsiteX12" fmla="*/ 55626 w 193269"/>
                <a:gd name="connsiteY12" fmla="*/ 9055 h 269334"/>
                <a:gd name="connsiteX13" fmla="*/ 100904 w 193269"/>
                <a:gd name="connsiteY13" fmla="*/ 0 h 269334"/>
                <a:gd name="connsiteX14" fmla="*/ 144629 w 193269"/>
                <a:gd name="connsiteY14" fmla="*/ 8279 h 269334"/>
                <a:gd name="connsiteX15" fmla="*/ 182144 w 193269"/>
                <a:gd name="connsiteY15" fmla="*/ 34928 h 269334"/>
                <a:gd name="connsiteX16" fmla="*/ 186801 w 193269"/>
                <a:gd name="connsiteY16" fmla="*/ 45019 h 269334"/>
                <a:gd name="connsiteX17" fmla="*/ 181627 w 193269"/>
                <a:gd name="connsiteY17" fmla="*/ 55626 h 269334"/>
                <a:gd name="connsiteX18" fmla="*/ 172571 w 193269"/>
                <a:gd name="connsiteY18" fmla="*/ 58731 h 269334"/>
                <a:gd name="connsiteX19" fmla="*/ 163516 w 193269"/>
                <a:gd name="connsiteY19" fmla="*/ 54591 h 269334"/>
                <a:gd name="connsiteX20" fmla="*/ 134797 w 193269"/>
                <a:gd name="connsiteY20" fmla="*/ 33893 h 269334"/>
                <a:gd name="connsiteX21" fmla="*/ 98834 w 193269"/>
                <a:gd name="connsiteY21" fmla="*/ 26908 h 269334"/>
                <a:gd name="connsiteX22" fmla="*/ 58214 w 193269"/>
                <a:gd name="connsiteY22" fmla="*/ 38033 h 269334"/>
                <a:gd name="connsiteX23" fmla="*/ 41396 w 193269"/>
                <a:gd name="connsiteY23" fmla="*/ 71409 h 269334"/>
                <a:gd name="connsiteX24" fmla="*/ 59766 w 193269"/>
                <a:gd name="connsiteY24" fmla="*/ 102197 h 269334"/>
                <a:gd name="connsiteX25" fmla="*/ 110994 w 193269"/>
                <a:gd name="connsiteY25" fmla="*/ 121343 h 269334"/>
                <a:gd name="connsiteX26" fmla="*/ 154460 w 193269"/>
                <a:gd name="connsiteY26" fmla="*/ 136090 h 269334"/>
                <a:gd name="connsiteX27" fmla="*/ 182403 w 193269"/>
                <a:gd name="connsiteY27" fmla="*/ 158858 h 269334"/>
                <a:gd name="connsiteX28" fmla="*/ 193269 w 193269"/>
                <a:gd name="connsiteY28" fmla="*/ 197668 h 269334"/>
                <a:gd name="connsiteX29" fmla="*/ 166879 w 193269"/>
                <a:gd name="connsiteY29" fmla="*/ 249930 h 269334"/>
                <a:gd name="connsiteX30" fmla="*/ 101680 w 193269"/>
                <a:gd name="connsiteY30" fmla="*/ 269335 h 269334"/>
                <a:gd name="connsiteX31" fmla="*/ 3622 w 193269"/>
                <a:gd name="connsiteY31" fmla="*/ 223282 h 269334"/>
                <a:gd name="connsiteX32" fmla="*/ 0 w 193269"/>
                <a:gd name="connsiteY32" fmla="*/ 212156 h 26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93269" h="269334">
                  <a:moveTo>
                    <a:pt x="0" y="212156"/>
                  </a:moveTo>
                  <a:cubicBezTo>
                    <a:pt x="0" y="207758"/>
                    <a:pt x="2070" y="204394"/>
                    <a:pt x="6468" y="202066"/>
                  </a:cubicBezTo>
                  <a:cubicBezTo>
                    <a:pt x="8538" y="199996"/>
                    <a:pt x="11125" y="198961"/>
                    <a:pt x="14489" y="198961"/>
                  </a:cubicBezTo>
                  <a:cubicBezTo>
                    <a:pt x="18628" y="198961"/>
                    <a:pt x="22251" y="200772"/>
                    <a:pt x="25614" y="204136"/>
                  </a:cubicBezTo>
                  <a:cubicBezTo>
                    <a:pt x="45536" y="230526"/>
                    <a:pt x="71926" y="243462"/>
                    <a:pt x="105043" y="243462"/>
                  </a:cubicBezTo>
                  <a:cubicBezTo>
                    <a:pt x="121084" y="243462"/>
                    <a:pt x="135314" y="239581"/>
                    <a:pt x="147216" y="232078"/>
                  </a:cubicBezTo>
                  <a:cubicBezTo>
                    <a:pt x="159117" y="224575"/>
                    <a:pt x="165068" y="213450"/>
                    <a:pt x="165068" y="198961"/>
                  </a:cubicBezTo>
                  <a:cubicBezTo>
                    <a:pt x="165068" y="184731"/>
                    <a:pt x="159635" y="174123"/>
                    <a:pt x="148509" y="167138"/>
                  </a:cubicBezTo>
                  <a:cubicBezTo>
                    <a:pt x="137384" y="160152"/>
                    <a:pt x="121861" y="153943"/>
                    <a:pt x="101939" y="149027"/>
                  </a:cubicBezTo>
                  <a:cubicBezTo>
                    <a:pt x="73996" y="142041"/>
                    <a:pt x="52004" y="132727"/>
                    <a:pt x="36222" y="121602"/>
                  </a:cubicBezTo>
                  <a:cubicBezTo>
                    <a:pt x="20439" y="110218"/>
                    <a:pt x="12419" y="93659"/>
                    <a:pt x="12419" y="71926"/>
                  </a:cubicBezTo>
                  <a:cubicBezTo>
                    <a:pt x="12419" y="58214"/>
                    <a:pt x="16300" y="45795"/>
                    <a:pt x="24062" y="34669"/>
                  </a:cubicBezTo>
                  <a:cubicBezTo>
                    <a:pt x="31823" y="23803"/>
                    <a:pt x="42431" y="15265"/>
                    <a:pt x="55626" y="9055"/>
                  </a:cubicBezTo>
                  <a:cubicBezTo>
                    <a:pt x="68821" y="3105"/>
                    <a:pt x="84086" y="0"/>
                    <a:pt x="100904" y="0"/>
                  </a:cubicBezTo>
                  <a:cubicBezTo>
                    <a:pt x="115392" y="0"/>
                    <a:pt x="129881" y="2846"/>
                    <a:pt x="144629" y="8279"/>
                  </a:cubicBezTo>
                  <a:cubicBezTo>
                    <a:pt x="159376" y="13713"/>
                    <a:pt x="171795" y="22768"/>
                    <a:pt x="182144" y="34928"/>
                  </a:cubicBezTo>
                  <a:cubicBezTo>
                    <a:pt x="185249" y="37257"/>
                    <a:pt x="186801" y="40620"/>
                    <a:pt x="186801" y="45019"/>
                  </a:cubicBezTo>
                  <a:cubicBezTo>
                    <a:pt x="186801" y="49158"/>
                    <a:pt x="184990" y="52522"/>
                    <a:pt x="181627" y="55626"/>
                  </a:cubicBezTo>
                  <a:cubicBezTo>
                    <a:pt x="179298" y="57696"/>
                    <a:pt x="176193" y="58731"/>
                    <a:pt x="172571" y="58731"/>
                  </a:cubicBezTo>
                  <a:cubicBezTo>
                    <a:pt x="169208" y="58731"/>
                    <a:pt x="166103" y="57437"/>
                    <a:pt x="163516" y="54591"/>
                  </a:cubicBezTo>
                  <a:cubicBezTo>
                    <a:pt x="155495" y="45536"/>
                    <a:pt x="145922" y="38550"/>
                    <a:pt x="134797" y="33893"/>
                  </a:cubicBezTo>
                  <a:cubicBezTo>
                    <a:pt x="123672" y="29236"/>
                    <a:pt x="111770" y="26908"/>
                    <a:pt x="98834" y="26908"/>
                  </a:cubicBezTo>
                  <a:cubicBezTo>
                    <a:pt x="83051" y="26908"/>
                    <a:pt x="69339" y="30530"/>
                    <a:pt x="58214" y="38033"/>
                  </a:cubicBezTo>
                  <a:cubicBezTo>
                    <a:pt x="46830" y="45536"/>
                    <a:pt x="41396" y="56661"/>
                    <a:pt x="41396" y="71409"/>
                  </a:cubicBezTo>
                  <a:cubicBezTo>
                    <a:pt x="42173" y="84862"/>
                    <a:pt x="48123" y="95212"/>
                    <a:pt x="59766" y="102197"/>
                  </a:cubicBezTo>
                  <a:cubicBezTo>
                    <a:pt x="71409" y="109183"/>
                    <a:pt x="88485" y="115651"/>
                    <a:pt x="110994" y="121343"/>
                  </a:cubicBezTo>
                  <a:cubicBezTo>
                    <a:pt x="128588" y="125741"/>
                    <a:pt x="143076" y="130657"/>
                    <a:pt x="154460" y="136090"/>
                  </a:cubicBezTo>
                  <a:cubicBezTo>
                    <a:pt x="165844" y="141524"/>
                    <a:pt x="175158" y="149027"/>
                    <a:pt x="182403" y="158858"/>
                  </a:cubicBezTo>
                  <a:cubicBezTo>
                    <a:pt x="189647" y="168690"/>
                    <a:pt x="193269" y="181626"/>
                    <a:pt x="193269" y="197668"/>
                  </a:cubicBezTo>
                  <a:cubicBezTo>
                    <a:pt x="193269" y="219659"/>
                    <a:pt x="184473" y="236994"/>
                    <a:pt x="166879" y="249930"/>
                  </a:cubicBezTo>
                  <a:cubicBezTo>
                    <a:pt x="149286" y="262867"/>
                    <a:pt x="127553" y="269335"/>
                    <a:pt x="101680" y="269335"/>
                  </a:cubicBezTo>
                  <a:cubicBezTo>
                    <a:pt x="60542" y="269335"/>
                    <a:pt x="27943" y="254070"/>
                    <a:pt x="3622" y="223282"/>
                  </a:cubicBezTo>
                  <a:cubicBezTo>
                    <a:pt x="1294" y="218883"/>
                    <a:pt x="0" y="215261"/>
                    <a:pt x="0" y="212156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AA58069-2C6B-4B9E-6F6F-A06AC5E6520E}"/>
                </a:ext>
              </a:extLst>
            </p:cNvPr>
            <p:cNvSpPr/>
            <p:nvPr/>
          </p:nvSpPr>
          <p:spPr>
            <a:xfrm>
              <a:off x="3229068" y="4100733"/>
              <a:ext cx="241651" cy="361450"/>
            </a:xfrm>
            <a:custGeom>
              <a:avLst/>
              <a:gdLst>
                <a:gd name="connsiteX0" fmla="*/ 183438 w 241651"/>
                <a:gd name="connsiteY0" fmla="*/ 16826 h 361450"/>
                <a:gd name="connsiteX1" fmla="*/ 226128 w 241651"/>
                <a:gd name="connsiteY1" fmla="*/ 63914 h 361450"/>
                <a:gd name="connsiteX2" fmla="*/ 241651 w 241651"/>
                <a:gd name="connsiteY2" fmla="*/ 131442 h 361450"/>
                <a:gd name="connsiteX3" fmla="*/ 226128 w 241651"/>
                <a:gd name="connsiteY3" fmla="*/ 199487 h 361450"/>
                <a:gd name="connsiteX4" fmla="*/ 183696 w 241651"/>
                <a:gd name="connsiteY4" fmla="*/ 246834 h 361450"/>
                <a:gd name="connsiteX5" fmla="*/ 123413 w 241651"/>
                <a:gd name="connsiteY5" fmla="*/ 263910 h 361450"/>
                <a:gd name="connsiteX6" fmla="*/ 69598 w 241651"/>
                <a:gd name="connsiteY6" fmla="*/ 249939 h 361450"/>
                <a:gd name="connsiteX7" fmla="*/ 30530 w 241651"/>
                <a:gd name="connsiteY7" fmla="*/ 212682 h 361450"/>
                <a:gd name="connsiteX8" fmla="*/ 30530 w 241651"/>
                <a:gd name="connsiteY8" fmla="*/ 346185 h 361450"/>
                <a:gd name="connsiteX9" fmla="*/ 26131 w 241651"/>
                <a:gd name="connsiteY9" fmla="*/ 357052 h 361450"/>
                <a:gd name="connsiteX10" fmla="*/ 15265 w 241651"/>
                <a:gd name="connsiteY10" fmla="*/ 361450 h 361450"/>
                <a:gd name="connsiteX11" fmla="*/ 4398 w 241651"/>
                <a:gd name="connsiteY11" fmla="*/ 357052 h 361450"/>
                <a:gd name="connsiteX12" fmla="*/ 0 w 241651"/>
                <a:gd name="connsiteY12" fmla="*/ 346185 h 361450"/>
                <a:gd name="connsiteX13" fmla="*/ 0 w 241651"/>
                <a:gd name="connsiteY13" fmla="*/ 16567 h 361450"/>
                <a:gd name="connsiteX14" fmla="*/ 4398 w 241651"/>
                <a:gd name="connsiteY14" fmla="*/ 5442 h 361450"/>
                <a:gd name="connsiteX15" fmla="*/ 15265 w 241651"/>
                <a:gd name="connsiteY15" fmla="*/ 785 h 361450"/>
                <a:gd name="connsiteX16" fmla="*/ 26131 w 241651"/>
                <a:gd name="connsiteY16" fmla="*/ 5442 h 361450"/>
                <a:gd name="connsiteX17" fmla="*/ 30530 w 241651"/>
                <a:gd name="connsiteY17" fmla="*/ 16567 h 361450"/>
                <a:gd name="connsiteX18" fmla="*/ 30530 w 241651"/>
                <a:gd name="connsiteY18" fmla="*/ 50978 h 361450"/>
                <a:gd name="connsiteX19" fmla="*/ 68304 w 241651"/>
                <a:gd name="connsiteY19" fmla="*/ 13721 h 361450"/>
                <a:gd name="connsiteX20" fmla="*/ 122895 w 241651"/>
                <a:gd name="connsiteY20" fmla="*/ 8 h 361450"/>
                <a:gd name="connsiteX21" fmla="*/ 183438 w 241651"/>
                <a:gd name="connsiteY21" fmla="*/ 16826 h 361450"/>
                <a:gd name="connsiteX22" fmla="*/ 167655 w 241651"/>
                <a:gd name="connsiteY22" fmla="*/ 221996 h 361450"/>
                <a:gd name="connsiteX23" fmla="*/ 200514 w 241651"/>
                <a:gd name="connsiteY23" fmla="*/ 184740 h 361450"/>
                <a:gd name="connsiteX24" fmla="*/ 212415 w 241651"/>
                <a:gd name="connsiteY24" fmla="*/ 131183 h 361450"/>
                <a:gd name="connsiteX25" fmla="*/ 200514 w 241651"/>
                <a:gd name="connsiteY25" fmla="*/ 78403 h 361450"/>
                <a:gd name="connsiteX26" fmla="*/ 167655 w 241651"/>
                <a:gd name="connsiteY26" fmla="*/ 41405 h 361450"/>
                <a:gd name="connsiteX27" fmla="*/ 120308 w 241651"/>
                <a:gd name="connsiteY27" fmla="*/ 27951 h 361450"/>
                <a:gd name="connsiteX28" fmla="*/ 72185 w 241651"/>
                <a:gd name="connsiteY28" fmla="*/ 41146 h 361450"/>
                <a:gd name="connsiteX29" fmla="*/ 39327 w 241651"/>
                <a:gd name="connsiteY29" fmla="*/ 77885 h 361450"/>
                <a:gd name="connsiteX30" fmla="*/ 27684 w 241651"/>
                <a:gd name="connsiteY30" fmla="*/ 131183 h 361450"/>
                <a:gd name="connsiteX31" fmla="*/ 39327 w 241651"/>
                <a:gd name="connsiteY31" fmla="*/ 184740 h 361450"/>
                <a:gd name="connsiteX32" fmla="*/ 72185 w 241651"/>
                <a:gd name="connsiteY32" fmla="*/ 221996 h 361450"/>
                <a:gd name="connsiteX33" fmla="*/ 120308 w 241651"/>
                <a:gd name="connsiteY33" fmla="*/ 235450 h 361450"/>
                <a:gd name="connsiteX34" fmla="*/ 167655 w 241651"/>
                <a:gd name="connsiteY34" fmla="*/ 221996 h 36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41651" h="361450">
                  <a:moveTo>
                    <a:pt x="183438" y="16826"/>
                  </a:moveTo>
                  <a:cubicBezTo>
                    <a:pt x="201549" y="28210"/>
                    <a:pt x="215779" y="43733"/>
                    <a:pt x="226128" y="63914"/>
                  </a:cubicBezTo>
                  <a:cubicBezTo>
                    <a:pt x="236477" y="83836"/>
                    <a:pt x="241651" y="106345"/>
                    <a:pt x="241651" y="131442"/>
                  </a:cubicBezTo>
                  <a:cubicBezTo>
                    <a:pt x="241651" y="156797"/>
                    <a:pt x="236477" y="179306"/>
                    <a:pt x="226128" y="199487"/>
                  </a:cubicBezTo>
                  <a:cubicBezTo>
                    <a:pt x="215779" y="219409"/>
                    <a:pt x="201807" y="235191"/>
                    <a:pt x="183696" y="246834"/>
                  </a:cubicBezTo>
                  <a:cubicBezTo>
                    <a:pt x="165585" y="258218"/>
                    <a:pt x="145663" y="263910"/>
                    <a:pt x="123413" y="263910"/>
                  </a:cubicBezTo>
                  <a:cubicBezTo>
                    <a:pt x="103750" y="263910"/>
                    <a:pt x="85897" y="259253"/>
                    <a:pt x="69598" y="249939"/>
                  </a:cubicBezTo>
                  <a:cubicBezTo>
                    <a:pt x="53298" y="240625"/>
                    <a:pt x="40103" y="228206"/>
                    <a:pt x="30530" y="212682"/>
                  </a:cubicBezTo>
                  <a:lnTo>
                    <a:pt x="30530" y="346185"/>
                  </a:lnTo>
                  <a:cubicBezTo>
                    <a:pt x="30530" y="350584"/>
                    <a:pt x="28977" y="354206"/>
                    <a:pt x="26131" y="357052"/>
                  </a:cubicBezTo>
                  <a:cubicBezTo>
                    <a:pt x="23285" y="359898"/>
                    <a:pt x="19663" y="361450"/>
                    <a:pt x="15265" y="361450"/>
                  </a:cubicBezTo>
                  <a:cubicBezTo>
                    <a:pt x="10867" y="361450"/>
                    <a:pt x="7244" y="359898"/>
                    <a:pt x="4398" y="357052"/>
                  </a:cubicBezTo>
                  <a:cubicBezTo>
                    <a:pt x="1552" y="354206"/>
                    <a:pt x="0" y="350584"/>
                    <a:pt x="0" y="346185"/>
                  </a:cubicBezTo>
                  <a:lnTo>
                    <a:pt x="0" y="16567"/>
                  </a:lnTo>
                  <a:cubicBezTo>
                    <a:pt x="0" y="12169"/>
                    <a:pt x="1552" y="8546"/>
                    <a:pt x="4398" y="5442"/>
                  </a:cubicBezTo>
                  <a:cubicBezTo>
                    <a:pt x="7244" y="2337"/>
                    <a:pt x="10867" y="785"/>
                    <a:pt x="15265" y="785"/>
                  </a:cubicBezTo>
                  <a:cubicBezTo>
                    <a:pt x="19663" y="785"/>
                    <a:pt x="23285" y="2337"/>
                    <a:pt x="26131" y="5442"/>
                  </a:cubicBezTo>
                  <a:cubicBezTo>
                    <a:pt x="28977" y="8546"/>
                    <a:pt x="30530" y="12169"/>
                    <a:pt x="30530" y="16567"/>
                  </a:cubicBezTo>
                  <a:lnTo>
                    <a:pt x="30530" y="50978"/>
                  </a:lnTo>
                  <a:cubicBezTo>
                    <a:pt x="39327" y="35195"/>
                    <a:pt x="52004" y="22776"/>
                    <a:pt x="68304" y="13721"/>
                  </a:cubicBezTo>
                  <a:cubicBezTo>
                    <a:pt x="84863" y="4666"/>
                    <a:pt x="102973" y="8"/>
                    <a:pt x="122895" y="8"/>
                  </a:cubicBezTo>
                  <a:cubicBezTo>
                    <a:pt x="145146" y="-250"/>
                    <a:pt x="165327" y="5442"/>
                    <a:pt x="183438" y="16826"/>
                  </a:cubicBezTo>
                  <a:close/>
                  <a:moveTo>
                    <a:pt x="167655" y="221996"/>
                  </a:moveTo>
                  <a:cubicBezTo>
                    <a:pt x="181627" y="213200"/>
                    <a:pt x="192493" y="200781"/>
                    <a:pt x="200514" y="184740"/>
                  </a:cubicBezTo>
                  <a:cubicBezTo>
                    <a:pt x="208534" y="168957"/>
                    <a:pt x="212415" y="151105"/>
                    <a:pt x="212415" y="131183"/>
                  </a:cubicBezTo>
                  <a:cubicBezTo>
                    <a:pt x="212415" y="111779"/>
                    <a:pt x="208534" y="93926"/>
                    <a:pt x="200514" y="78403"/>
                  </a:cubicBezTo>
                  <a:cubicBezTo>
                    <a:pt x="192493" y="62620"/>
                    <a:pt x="181627" y="50460"/>
                    <a:pt x="167655" y="41405"/>
                  </a:cubicBezTo>
                  <a:cubicBezTo>
                    <a:pt x="153684" y="32608"/>
                    <a:pt x="137902" y="27951"/>
                    <a:pt x="120308" y="27951"/>
                  </a:cubicBezTo>
                  <a:cubicBezTo>
                    <a:pt x="102456" y="27951"/>
                    <a:pt x="86415" y="32349"/>
                    <a:pt x="72185" y="41146"/>
                  </a:cubicBezTo>
                  <a:cubicBezTo>
                    <a:pt x="57955" y="49943"/>
                    <a:pt x="47088" y="62103"/>
                    <a:pt x="39327" y="77885"/>
                  </a:cubicBezTo>
                  <a:cubicBezTo>
                    <a:pt x="31565" y="93668"/>
                    <a:pt x="27684" y="111261"/>
                    <a:pt x="27684" y="131183"/>
                  </a:cubicBezTo>
                  <a:cubicBezTo>
                    <a:pt x="27684" y="151105"/>
                    <a:pt x="31565" y="168957"/>
                    <a:pt x="39327" y="184740"/>
                  </a:cubicBezTo>
                  <a:cubicBezTo>
                    <a:pt x="47088" y="200522"/>
                    <a:pt x="57955" y="212941"/>
                    <a:pt x="72185" y="221996"/>
                  </a:cubicBezTo>
                  <a:cubicBezTo>
                    <a:pt x="86415" y="230793"/>
                    <a:pt x="102197" y="235450"/>
                    <a:pt x="120308" y="235450"/>
                  </a:cubicBezTo>
                  <a:cubicBezTo>
                    <a:pt x="137902" y="235191"/>
                    <a:pt x="153684" y="230793"/>
                    <a:pt x="167655" y="221996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00E553C3-D277-1619-73E5-1834BCE59F62}"/>
                </a:ext>
              </a:extLst>
            </p:cNvPr>
            <p:cNvSpPr/>
            <p:nvPr/>
          </p:nvSpPr>
          <p:spPr>
            <a:xfrm>
              <a:off x="3515997" y="4096602"/>
              <a:ext cx="242168" cy="269334"/>
            </a:xfrm>
            <a:custGeom>
              <a:avLst/>
              <a:gdLst>
                <a:gd name="connsiteX0" fmla="*/ 237770 w 242168"/>
                <a:gd name="connsiteY0" fmla="*/ 10608 h 269334"/>
                <a:gd name="connsiteX1" fmla="*/ 242169 w 242168"/>
                <a:gd name="connsiteY1" fmla="*/ 21733 h 269334"/>
                <a:gd name="connsiteX2" fmla="*/ 242169 w 242168"/>
                <a:gd name="connsiteY2" fmla="*/ 249154 h 269334"/>
                <a:gd name="connsiteX3" fmla="*/ 237770 w 242168"/>
                <a:gd name="connsiteY3" fmla="*/ 260021 h 269334"/>
                <a:gd name="connsiteX4" fmla="*/ 226904 w 242168"/>
                <a:gd name="connsiteY4" fmla="*/ 264419 h 269334"/>
                <a:gd name="connsiteX5" fmla="*/ 216037 w 242168"/>
                <a:gd name="connsiteY5" fmla="*/ 260021 h 269334"/>
                <a:gd name="connsiteX6" fmla="*/ 211639 w 242168"/>
                <a:gd name="connsiteY6" fmla="*/ 249154 h 269334"/>
                <a:gd name="connsiteX7" fmla="*/ 211639 w 242168"/>
                <a:gd name="connsiteY7" fmla="*/ 215261 h 269334"/>
                <a:gd name="connsiteX8" fmla="*/ 173865 w 242168"/>
                <a:gd name="connsiteY8" fmla="*/ 253553 h 269334"/>
                <a:gd name="connsiteX9" fmla="*/ 118756 w 242168"/>
                <a:gd name="connsiteY9" fmla="*/ 269335 h 269334"/>
                <a:gd name="connsiteX10" fmla="*/ 57955 w 242168"/>
                <a:gd name="connsiteY10" fmla="*/ 251742 h 269334"/>
                <a:gd name="connsiteX11" fmla="*/ 15524 w 242168"/>
                <a:gd name="connsiteY11" fmla="*/ 203360 h 269334"/>
                <a:gd name="connsiteX12" fmla="*/ 0 w 242168"/>
                <a:gd name="connsiteY12" fmla="*/ 134021 h 269334"/>
                <a:gd name="connsiteX13" fmla="*/ 15782 w 242168"/>
                <a:gd name="connsiteY13" fmla="*/ 64941 h 269334"/>
                <a:gd name="connsiteX14" fmla="*/ 58472 w 242168"/>
                <a:gd name="connsiteY14" fmla="*/ 17076 h 269334"/>
                <a:gd name="connsiteX15" fmla="*/ 118238 w 242168"/>
                <a:gd name="connsiteY15" fmla="*/ 0 h 269334"/>
                <a:gd name="connsiteX16" fmla="*/ 173865 w 242168"/>
                <a:gd name="connsiteY16" fmla="*/ 14747 h 269334"/>
                <a:gd name="connsiteX17" fmla="*/ 211639 w 242168"/>
                <a:gd name="connsiteY17" fmla="*/ 53039 h 269334"/>
                <a:gd name="connsiteX18" fmla="*/ 211639 w 242168"/>
                <a:gd name="connsiteY18" fmla="*/ 21733 h 269334"/>
                <a:gd name="connsiteX19" fmla="*/ 216037 w 242168"/>
                <a:gd name="connsiteY19" fmla="*/ 10608 h 269334"/>
                <a:gd name="connsiteX20" fmla="*/ 226904 w 242168"/>
                <a:gd name="connsiteY20" fmla="*/ 5951 h 269334"/>
                <a:gd name="connsiteX21" fmla="*/ 237770 w 242168"/>
                <a:gd name="connsiteY21" fmla="*/ 10608 h 269334"/>
                <a:gd name="connsiteX22" fmla="*/ 169208 w 242168"/>
                <a:gd name="connsiteY22" fmla="*/ 226904 h 269334"/>
                <a:gd name="connsiteX23" fmla="*/ 202066 w 242168"/>
                <a:gd name="connsiteY23" fmla="*/ 188612 h 269334"/>
                <a:gd name="connsiteX24" fmla="*/ 213968 w 242168"/>
                <a:gd name="connsiteY24" fmla="*/ 133762 h 269334"/>
                <a:gd name="connsiteX25" fmla="*/ 202066 w 242168"/>
                <a:gd name="connsiteY25" fmla="*/ 80205 h 269334"/>
                <a:gd name="connsiteX26" fmla="*/ 169208 w 242168"/>
                <a:gd name="connsiteY26" fmla="*/ 42173 h 269334"/>
                <a:gd name="connsiteX27" fmla="*/ 121860 w 242168"/>
                <a:gd name="connsiteY27" fmla="*/ 28201 h 269334"/>
                <a:gd name="connsiteX28" fmla="*/ 74513 w 242168"/>
                <a:gd name="connsiteY28" fmla="*/ 41914 h 269334"/>
                <a:gd name="connsiteX29" fmla="*/ 41655 w 242168"/>
                <a:gd name="connsiteY29" fmla="*/ 79429 h 269334"/>
                <a:gd name="connsiteX30" fmla="*/ 29754 w 242168"/>
                <a:gd name="connsiteY30" fmla="*/ 133762 h 269334"/>
                <a:gd name="connsiteX31" fmla="*/ 41396 w 242168"/>
                <a:gd name="connsiteY31" fmla="*/ 188612 h 269334"/>
                <a:gd name="connsiteX32" fmla="*/ 73996 w 242168"/>
                <a:gd name="connsiteY32" fmla="*/ 226904 h 269334"/>
                <a:gd name="connsiteX33" fmla="*/ 121860 w 242168"/>
                <a:gd name="connsiteY33" fmla="*/ 240875 h 269334"/>
                <a:gd name="connsiteX34" fmla="*/ 169208 w 242168"/>
                <a:gd name="connsiteY34" fmla="*/ 226904 h 26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42168" h="269334">
                  <a:moveTo>
                    <a:pt x="237770" y="10608"/>
                  </a:moveTo>
                  <a:cubicBezTo>
                    <a:pt x="240616" y="13713"/>
                    <a:pt x="242169" y="17335"/>
                    <a:pt x="242169" y="21733"/>
                  </a:cubicBezTo>
                  <a:lnTo>
                    <a:pt x="242169" y="249154"/>
                  </a:lnTo>
                  <a:cubicBezTo>
                    <a:pt x="242169" y="253553"/>
                    <a:pt x="240616" y="257175"/>
                    <a:pt x="237770" y="260021"/>
                  </a:cubicBezTo>
                  <a:cubicBezTo>
                    <a:pt x="234924" y="262867"/>
                    <a:pt x="231302" y="264419"/>
                    <a:pt x="226904" y="264419"/>
                  </a:cubicBezTo>
                  <a:cubicBezTo>
                    <a:pt x="222505" y="264419"/>
                    <a:pt x="218883" y="262867"/>
                    <a:pt x="216037" y="260021"/>
                  </a:cubicBezTo>
                  <a:cubicBezTo>
                    <a:pt x="213191" y="257175"/>
                    <a:pt x="211639" y="253553"/>
                    <a:pt x="211639" y="249154"/>
                  </a:cubicBezTo>
                  <a:lnTo>
                    <a:pt x="211639" y="215261"/>
                  </a:lnTo>
                  <a:cubicBezTo>
                    <a:pt x="203101" y="230526"/>
                    <a:pt x="190682" y="243204"/>
                    <a:pt x="173865" y="253553"/>
                  </a:cubicBezTo>
                  <a:cubicBezTo>
                    <a:pt x="157048" y="263902"/>
                    <a:pt x="138678" y="269335"/>
                    <a:pt x="118756" y="269335"/>
                  </a:cubicBezTo>
                  <a:cubicBezTo>
                    <a:pt x="96247" y="269335"/>
                    <a:pt x="75807" y="263384"/>
                    <a:pt x="57955" y="251742"/>
                  </a:cubicBezTo>
                  <a:cubicBezTo>
                    <a:pt x="39844" y="239840"/>
                    <a:pt x="25873" y="223799"/>
                    <a:pt x="15524" y="203360"/>
                  </a:cubicBezTo>
                  <a:cubicBezTo>
                    <a:pt x="5175" y="182920"/>
                    <a:pt x="0" y="159635"/>
                    <a:pt x="0" y="134021"/>
                  </a:cubicBezTo>
                  <a:cubicBezTo>
                    <a:pt x="0" y="108407"/>
                    <a:pt x="5175" y="85380"/>
                    <a:pt x="15782" y="64941"/>
                  </a:cubicBezTo>
                  <a:cubicBezTo>
                    <a:pt x="26131" y="44501"/>
                    <a:pt x="40361" y="28719"/>
                    <a:pt x="58472" y="17076"/>
                  </a:cubicBezTo>
                  <a:cubicBezTo>
                    <a:pt x="76583" y="5692"/>
                    <a:pt x="96505" y="0"/>
                    <a:pt x="118238" y="0"/>
                  </a:cubicBezTo>
                  <a:cubicBezTo>
                    <a:pt x="138419" y="0"/>
                    <a:pt x="157048" y="4916"/>
                    <a:pt x="173865" y="14747"/>
                  </a:cubicBezTo>
                  <a:cubicBezTo>
                    <a:pt x="190682" y="24579"/>
                    <a:pt x="203360" y="37257"/>
                    <a:pt x="211639" y="53039"/>
                  </a:cubicBezTo>
                  <a:lnTo>
                    <a:pt x="211639" y="21733"/>
                  </a:lnTo>
                  <a:cubicBezTo>
                    <a:pt x="211639" y="17335"/>
                    <a:pt x="213191" y="13713"/>
                    <a:pt x="216037" y="10608"/>
                  </a:cubicBezTo>
                  <a:cubicBezTo>
                    <a:pt x="218883" y="7503"/>
                    <a:pt x="222505" y="5951"/>
                    <a:pt x="226904" y="5951"/>
                  </a:cubicBezTo>
                  <a:cubicBezTo>
                    <a:pt x="231302" y="5951"/>
                    <a:pt x="234924" y="7503"/>
                    <a:pt x="237770" y="10608"/>
                  </a:cubicBezTo>
                  <a:close/>
                  <a:moveTo>
                    <a:pt x="169208" y="226904"/>
                  </a:moveTo>
                  <a:cubicBezTo>
                    <a:pt x="183179" y="217590"/>
                    <a:pt x="194045" y="204912"/>
                    <a:pt x="202066" y="188612"/>
                  </a:cubicBezTo>
                  <a:cubicBezTo>
                    <a:pt x="210087" y="172312"/>
                    <a:pt x="213968" y="153943"/>
                    <a:pt x="213968" y="133762"/>
                  </a:cubicBezTo>
                  <a:cubicBezTo>
                    <a:pt x="213968" y="114357"/>
                    <a:pt x="210087" y="96246"/>
                    <a:pt x="202066" y="80205"/>
                  </a:cubicBezTo>
                  <a:cubicBezTo>
                    <a:pt x="194045" y="64164"/>
                    <a:pt x="183179" y="51228"/>
                    <a:pt x="169208" y="42173"/>
                  </a:cubicBezTo>
                  <a:cubicBezTo>
                    <a:pt x="155236" y="32858"/>
                    <a:pt x="139454" y="28201"/>
                    <a:pt x="121860" y="28201"/>
                  </a:cubicBezTo>
                  <a:cubicBezTo>
                    <a:pt x="104267" y="28201"/>
                    <a:pt x="88485" y="32858"/>
                    <a:pt x="74513" y="41914"/>
                  </a:cubicBezTo>
                  <a:cubicBezTo>
                    <a:pt x="60542" y="50969"/>
                    <a:pt x="49676" y="63647"/>
                    <a:pt x="41655" y="79429"/>
                  </a:cubicBezTo>
                  <a:cubicBezTo>
                    <a:pt x="33635" y="95470"/>
                    <a:pt x="29754" y="113581"/>
                    <a:pt x="29754" y="133762"/>
                  </a:cubicBezTo>
                  <a:cubicBezTo>
                    <a:pt x="29754" y="153943"/>
                    <a:pt x="33635" y="172312"/>
                    <a:pt x="41396" y="188612"/>
                  </a:cubicBezTo>
                  <a:cubicBezTo>
                    <a:pt x="49158" y="204912"/>
                    <a:pt x="60025" y="217848"/>
                    <a:pt x="73996" y="226904"/>
                  </a:cubicBezTo>
                  <a:cubicBezTo>
                    <a:pt x="87967" y="236218"/>
                    <a:pt x="104008" y="240875"/>
                    <a:pt x="121860" y="240875"/>
                  </a:cubicBezTo>
                  <a:cubicBezTo>
                    <a:pt x="139454" y="240875"/>
                    <a:pt x="155236" y="236218"/>
                    <a:pt x="169208" y="226904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0E0D1FF-B245-8325-30D5-F18E30DC58B8}"/>
                </a:ext>
              </a:extLst>
            </p:cNvPr>
            <p:cNvSpPr/>
            <p:nvPr/>
          </p:nvSpPr>
          <p:spPr>
            <a:xfrm>
              <a:off x="3837336" y="4100733"/>
              <a:ext cx="241651" cy="361450"/>
            </a:xfrm>
            <a:custGeom>
              <a:avLst/>
              <a:gdLst>
                <a:gd name="connsiteX0" fmla="*/ 183438 w 241651"/>
                <a:gd name="connsiteY0" fmla="*/ 16826 h 361450"/>
                <a:gd name="connsiteX1" fmla="*/ 226128 w 241651"/>
                <a:gd name="connsiteY1" fmla="*/ 63914 h 361450"/>
                <a:gd name="connsiteX2" fmla="*/ 241651 w 241651"/>
                <a:gd name="connsiteY2" fmla="*/ 131442 h 361450"/>
                <a:gd name="connsiteX3" fmla="*/ 226128 w 241651"/>
                <a:gd name="connsiteY3" fmla="*/ 199487 h 361450"/>
                <a:gd name="connsiteX4" fmla="*/ 183696 w 241651"/>
                <a:gd name="connsiteY4" fmla="*/ 246834 h 361450"/>
                <a:gd name="connsiteX5" fmla="*/ 123413 w 241651"/>
                <a:gd name="connsiteY5" fmla="*/ 263910 h 361450"/>
                <a:gd name="connsiteX6" fmla="*/ 69598 w 241651"/>
                <a:gd name="connsiteY6" fmla="*/ 249939 h 361450"/>
                <a:gd name="connsiteX7" fmla="*/ 30530 w 241651"/>
                <a:gd name="connsiteY7" fmla="*/ 212682 h 361450"/>
                <a:gd name="connsiteX8" fmla="*/ 30530 w 241651"/>
                <a:gd name="connsiteY8" fmla="*/ 346185 h 361450"/>
                <a:gd name="connsiteX9" fmla="*/ 26131 w 241651"/>
                <a:gd name="connsiteY9" fmla="*/ 357052 h 361450"/>
                <a:gd name="connsiteX10" fmla="*/ 15265 w 241651"/>
                <a:gd name="connsiteY10" fmla="*/ 361450 h 361450"/>
                <a:gd name="connsiteX11" fmla="*/ 4398 w 241651"/>
                <a:gd name="connsiteY11" fmla="*/ 357052 h 361450"/>
                <a:gd name="connsiteX12" fmla="*/ 0 w 241651"/>
                <a:gd name="connsiteY12" fmla="*/ 346185 h 361450"/>
                <a:gd name="connsiteX13" fmla="*/ 0 w 241651"/>
                <a:gd name="connsiteY13" fmla="*/ 16567 h 361450"/>
                <a:gd name="connsiteX14" fmla="*/ 4398 w 241651"/>
                <a:gd name="connsiteY14" fmla="*/ 5442 h 361450"/>
                <a:gd name="connsiteX15" fmla="*/ 15265 w 241651"/>
                <a:gd name="connsiteY15" fmla="*/ 785 h 361450"/>
                <a:gd name="connsiteX16" fmla="*/ 26131 w 241651"/>
                <a:gd name="connsiteY16" fmla="*/ 5442 h 361450"/>
                <a:gd name="connsiteX17" fmla="*/ 30530 w 241651"/>
                <a:gd name="connsiteY17" fmla="*/ 16567 h 361450"/>
                <a:gd name="connsiteX18" fmla="*/ 30530 w 241651"/>
                <a:gd name="connsiteY18" fmla="*/ 50978 h 361450"/>
                <a:gd name="connsiteX19" fmla="*/ 68304 w 241651"/>
                <a:gd name="connsiteY19" fmla="*/ 13721 h 361450"/>
                <a:gd name="connsiteX20" fmla="*/ 122895 w 241651"/>
                <a:gd name="connsiteY20" fmla="*/ 8 h 361450"/>
                <a:gd name="connsiteX21" fmla="*/ 183438 w 241651"/>
                <a:gd name="connsiteY21" fmla="*/ 16826 h 361450"/>
                <a:gd name="connsiteX22" fmla="*/ 167655 w 241651"/>
                <a:gd name="connsiteY22" fmla="*/ 221996 h 361450"/>
                <a:gd name="connsiteX23" fmla="*/ 200514 w 241651"/>
                <a:gd name="connsiteY23" fmla="*/ 184740 h 361450"/>
                <a:gd name="connsiteX24" fmla="*/ 212415 w 241651"/>
                <a:gd name="connsiteY24" fmla="*/ 131183 h 361450"/>
                <a:gd name="connsiteX25" fmla="*/ 200514 w 241651"/>
                <a:gd name="connsiteY25" fmla="*/ 78403 h 361450"/>
                <a:gd name="connsiteX26" fmla="*/ 167655 w 241651"/>
                <a:gd name="connsiteY26" fmla="*/ 41405 h 361450"/>
                <a:gd name="connsiteX27" fmla="*/ 120308 w 241651"/>
                <a:gd name="connsiteY27" fmla="*/ 27951 h 361450"/>
                <a:gd name="connsiteX28" fmla="*/ 72185 w 241651"/>
                <a:gd name="connsiteY28" fmla="*/ 41146 h 361450"/>
                <a:gd name="connsiteX29" fmla="*/ 39326 w 241651"/>
                <a:gd name="connsiteY29" fmla="*/ 77885 h 361450"/>
                <a:gd name="connsiteX30" fmla="*/ 27684 w 241651"/>
                <a:gd name="connsiteY30" fmla="*/ 131183 h 361450"/>
                <a:gd name="connsiteX31" fmla="*/ 39326 w 241651"/>
                <a:gd name="connsiteY31" fmla="*/ 184740 h 361450"/>
                <a:gd name="connsiteX32" fmla="*/ 72185 w 241651"/>
                <a:gd name="connsiteY32" fmla="*/ 221996 h 361450"/>
                <a:gd name="connsiteX33" fmla="*/ 120308 w 241651"/>
                <a:gd name="connsiteY33" fmla="*/ 235450 h 361450"/>
                <a:gd name="connsiteX34" fmla="*/ 167655 w 241651"/>
                <a:gd name="connsiteY34" fmla="*/ 221996 h 36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41651" h="361450">
                  <a:moveTo>
                    <a:pt x="183438" y="16826"/>
                  </a:moveTo>
                  <a:cubicBezTo>
                    <a:pt x="201548" y="28210"/>
                    <a:pt x="215778" y="43733"/>
                    <a:pt x="226128" y="63914"/>
                  </a:cubicBezTo>
                  <a:cubicBezTo>
                    <a:pt x="236477" y="83836"/>
                    <a:pt x="241651" y="106345"/>
                    <a:pt x="241651" y="131442"/>
                  </a:cubicBezTo>
                  <a:cubicBezTo>
                    <a:pt x="241651" y="156797"/>
                    <a:pt x="236477" y="179306"/>
                    <a:pt x="226128" y="199487"/>
                  </a:cubicBezTo>
                  <a:cubicBezTo>
                    <a:pt x="215778" y="219409"/>
                    <a:pt x="201807" y="235191"/>
                    <a:pt x="183696" y="246834"/>
                  </a:cubicBezTo>
                  <a:cubicBezTo>
                    <a:pt x="165585" y="258218"/>
                    <a:pt x="145663" y="263910"/>
                    <a:pt x="123413" y="263910"/>
                  </a:cubicBezTo>
                  <a:cubicBezTo>
                    <a:pt x="103750" y="263910"/>
                    <a:pt x="85897" y="259253"/>
                    <a:pt x="69598" y="249939"/>
                  </a:cubicBezTo>
                  <a:cubicBezTo>
                    <a:pt x="53298" y="240625"/>
                    <a:pt x="40103" y="228206"/>
                    <a:pt x="30530" y="212682"/>
                  </a:cubicBezTo>
                  <a:lnTo>
                    <a:pt x="30530" y="346185"/>
                  </a:lnTo>
                  <a:cubicBezTo>
                    <a:pt x="30530" y="350584"/>
                    <a:pt x="28977" y="354206"/>
                    <a:pt x="26131" y="357052"/>
                  </a:cubicBezTo>
                  <a:cubicBezTo>
                    <a:pt x="23285" y="359898"/>
                    <a:pt x="19663" y="361450"/>
                    <a:pt x="15265" y="361450"/>
                  </a:cubicBezTo>
                  <a:cubicBezTo>
                    <a:pt x="10866" y="361450"/>
                    <a:pt x="7244" y="359898"/>
                    <a:pt x="4398" y="357052"/>
                  </a:cubicBezTo>
                  <a:cubicBezTo>
                    <a:pt x="1552" y="354206"/>
                    <a:pt x="0" y="350584"/>
                    <a:pt x="0" y="346185"/>
                  </a:cubicBezTo>
                  <a:lnTo>
                    <a:pt x="0" y="16567"/>
                  </a:lnTo>
                  <a:cubicBezTo>
                    <a:pt x="0" y="12169"/>
                    <a:pt x="1552" y="8546"/>
                    <a:pt x="4398" y="5442"/>
                  </a:cubicBezTo>
                  <a:cubicBezTo>
                    <a:pt x="7244" y="2337"/>
                    <a:pt x="10866" y="785"/>
                    <a:pt x="15265" y="785"/>
                  </a:cubicBezTo>
                  <a:cubicBezTo>
                    <a:pt x="19663" y="785"/>
                    <a:pt x="23285" y="2337"/>
                    <a:pt x="26131" y="5442"/>
                  </a:cubicBezTo>
                  <a:cubicBezTo>
                    <a:pt x="28977" y="8546"/>
                    <a:pt x="30530" y="12169"/>
                    <a:pt x="30530" y="16567"/>
                  </a:cubicBezTo>
                  <a:lnTo>
                    <a:pt x="30530" y="50978"/>
                  </a:lnTo>
                  <a:cubicBezTo>
                    <a:pt x="39326" y="35195"/>
                    <a:pt x="52004" y="22776"/>
                    <a:pt x="68304" y="13721"/>
                  </a:cubicBezTo>
                  <a:cubicBezTo>
                    <a:pt x="84863" y="4666"/>
                    <a:pt x="102973" y="8"/>
                    <a:pt x="122895" y="8"/>
                  </a:cubicBezTo>
                  <a:cubicBezTo>
                    <a:pt x="145146" y="-250"/>
                    <a:pt x="165327" y="5442"/>
                    <a:pt x="183438" y="16826"/>
                  </a:cubicBezTo>
                  <a:close/>
                  <a:moveTo>
                    <a:pt x="167655" y="221996"/>
                  </a:moveTo>
                  <a:cubicBezTo>
                    <a:pt x="181626" y="213200"/>
                    <a:pt x="192493" y="200781"/>
                    <a:pt x="200514" y="184740"/>
                  </a:cubicBezTo>
                  <a:cubicBezTo>
                    <a:pt x="208534" y="168957"/>
                    <a:pt x="212415" y="151105"/>
                    <a:pt x="212415" y="131183"/>
                  </a:cubicBezTo>
                  <a:cubicBezTo>
                    <a:pt x="212415" y="111779"/>
                    <a:pt x="208534" y="93926"/>
                    <a:pt x="200514" y="78403"/>
                  </a:cubicBezTo>
                  <a:cubicBezTo>
                    <a:pt x="192493" y="62620"/>
                    <a:pt x="181626" y="50460"/>
                    <a:pt x="167655" y="41405"/>
                  </a:cubicBezTo>
                  <a:cubicBezTo>
                    <a:pt x="153684" y="32608"/>
                    <a:pt x="137902" y="27951"/>
                    <a:pt x="120308" y="27951"/>
                  </a:cubicBezTo>
                  <a:cubicBezTo>
                    <a:pt x="102456" y="27951"/>
                    <a:pt x="86415" y="32349"/>
                    <a:pt x="72185" y="41146"/>
                  </a:cubicBezTo>
                  <a:cubicBezTo>
                    <a:pt x="57955" y="49943"/>
                    <a:pt x="47088" y="62103"/>
                    <a:pt x="39326" y="77885"/>
                  </a:cubicBezTo>
                  <a:cubicBezTo>
                    <a:pt x="31565" y="93668"/>
                    <a:pt x="27684" y="111261"/>
                    <a:pt x="27684" y="131183"/>
                  </a:cubicBezTo>
                  <a:cubicBezTo>
                    <a:pt x="27684" y="151105"/>
                    <a:pt x="31565" y="168957"/>
                    <a:pt x="39326" y="184740"/>
                  </a:cubicBezTo>
                  <a:cubicBezTo>
                    <a:pt x="47088" y="200522"/>
                    <a:pt x="57955" y="212941"/>
                    <a:pt x="72185" y="221996"/>
                  </a:cubicBezTo>
                  <a:cubicBezTo>
                    <a:pt x="86415" y="230793"/>
                    <a:pt x="102197" y="235450"/>
                    <a:pt x="120308" y="235450"/>
                  </a:cubicBezTo>
                  <a:cubicBezTo>
                    <a:pt x="137902" y="235191"/>
                    <a:pt x="153684" y="230793"/>
                    <a:pt x="167655" y="221996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7993EB6-8145-B3FA-5628-1AF6C8751248}"/>
                </a:ext>
              </a:extLst>
            </p:cNvPr>
            <p:cNvSpPr/>
            <p:nvPr/>
          </p:nvSpPr>
          <p:spPr>
            <a:xfrm>
              <a:off x="4114701" y="4101174"/>
              <a:ext cx="266751" cy="257228"/>
            </a:xfrm>
            <a:custGeom>
              <a:avLst/>
              <a:gdLst>
                <a:gd name="connsiteX0" fmla="*/ 204644 w 266751"/>
                <a:gd name="connsiteY0" fmla="*/ 47174 h 257228"/>
                <a:gd name="connsiteX1" fmla="*/ 200245 w 266751"/>
                <a:gd name="connsiteY1" fmla="*/ 57782 h 257228"/>
                <a:gd name="connsiteX2" fmla="*/ 65189 w 266751"/>
                <a:gd name="connsiteY2" fmla="*/ 192837 h 257228"/>
                <a:gd name="connsiteX3" fmla="*/ 112278 w 266751"/>
                <a:gd name="connsiteY3" fmla="*/ 222591 h 257228"/>
                <a:gd name="connsiteX4" fmla="*/ 164023 w 266751"/>
                <a:gd name="connsiteY4" fmla="*/ 224402 h 257228"/>
                <a:gd name="connsiteX5" fmla="*/ 212147 w 266751"/>
                <a:gd name="connsiteY5" fmla="*/ 195942 h 257228"/>
                <a:gd name="connsiteX6" fmla="*/ 235691 w 266751"/>
                <a:gd name="connsiteY6" fmla="*/ 158168 h 257228"/>
                <a:gd name="connsiteX7" fmla="*/ 239313 w 266751"/>
                <a:gd name="connsiteY7" fmla="*/ 118065 h 257228"/>
                <a:gd name="connsiteX8" fmla="*/ 243711 w 266751"/>
                <a:gd name="connsiteY8" fmla="*/ 107457 h 257228"/>
                <a:gd name="connsiteX9" fmla="*/ 253026 w 266751"/>
                <a:gd name="connsiteY9" fmla="*/ 103835 h 257228"/>
                <a:gd name="connsiteX10" fmla="*/ 262340 w 266751"/>
                <a:gd name="connsiteY10" fmla="*/ 107457 h 257228"/>
                <a:gd name="connsiteX11" fmla="*/ 266221 w 266751"/>
                <a:gd name="connsiteY11" fmla="*/ 118583 h 257228"/>
                <a:gd name="connsiteX12" fmla="*/ 260270 w 266751"/>
                <a:gd name="connsiteY12" fmla="*/ 170328 h 257228"/>
                <a:gd name="connsiteX13" fmla="*/ 232586 w 266751"/>
                <a:gd name="connsiteY13" fmla="*/ 215864 h 257228"/>
                <a:gd name="connsiteX14" fmla="*/ 172303 w 266751"/>
                <a:gd name="connsiteY14" fmla="*/ 252603 h 257228"/>
                <a:gd name="connsiteX15" fmla="*/ 106327 w 266751"/>
                <a:gd name="connsiteY15" fmla="*/ 252344 h 257228"/>
                <a:gd name="connsiteX16" fmla="*/ 45526 w 266751"/>
                <a:gd name="connsiteY16" fmla="*/ 215088 h 257228"/>
                <a:gd name="connsiteX17" fmla="*/ 5941 w 266751"/>
                <a:gd name="connsiteY17" fmla="*/ 152217 h 257228"/>
                <a:gd name="connsiteX18" fmla="*/ 3354 w 266751"/>
                <a:gd name="connsiteY18" fmla="*/ 87794 h 257228"/>
                <a:gd name="connsiteX19" fmla="*/ 32849 w 266751"/>
                <a:gd name="connsiteY19" fmla="*/ 35014 h 257228"/>
                <a:gd name="connsiteX20" fmla="*/ 83042 w 266751"/>
                <a:gd name="connsiteY20" fmla="*/ 4743 h 257228"/>
                <a:gd name="connsiteX21" fmla="*/ 142808 w 266751"/>
                <a:gd name="connsiteY21" fmla="*/ 3449 h 257228"/>
                <a:gd name="connsiteX22" fmla="*/ 200763 w 266751"/>
                <a:gd name="connsiteY22" fmla="*/ 37083 h 257228"/>
                <a:gd name="connsiteX23" fmla="*/ 204644 w 266751"/>
                <a:gd name="connsiteY23" fmla="*/ 47174 h 257228"/>
                <a:gd name="connsiteX24" fmla="*/ 29226 w 266751"/>
                <a:gd name="connsiteY24" fmla="*/ 107975 h 257228"/>
                <a:gd name="connsiteX25" fmla="*/ 47596 w 266751"/>
                <a:gd name="connsiteY25" fmla="*/ 171622 h 257228"/>
                <a:gd name="connsiteX26" fmla="*/ 169457 w 266751"/>
                <a:gd name="connsiteY26" fmla="*/ 49761 h 257228"/>
                <a:gd name="connsiteX27" fmla="*/ 166611 w 266751"/>
                <a:gd name="connsiteY27" fmla="*/ 46915 h 257228"/>
                <a:gd name="connsiteX28" fmla="*/ 127802 w 266751"/>
                <a:gd name="connsiteY28" fmla="*/ 29580 h 257228"/>
                <a:gd name="connsiteX29" fmla="*/ 87181 w 266751"/>
                <a:gd name="connsiteY29" fmla="*/ 33720 h 257228"/>
                <a:gd name="connsiteX30" fmla="*/ 53288 w 266751"/>
                <a:gd name="connsiteY30" fmla="*/ 55194 h 257228"/>
                <a:gd name="connsiteX31" fmla="*/ 29226 w 266751"/>
                <a:gd name="connsiteY31" fmla="*/ 107975 h 257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66751" h="257228">
                  <a:moveTo>
                    <a:pt x="204644" y="47174"/>
                  </a:moveTo>
                  <a:cubicBezTo>
                    <a:pt x="204644" y="51313"/>
                    <a:pt x="203091" y="54936"/>
                    <a:pt x="200245" y="57782"/>
                  </a:cubicBezTo>
                  <a:lnTo>
                    <a:pt x="65189" y="192837"/>
                  </a:lnTo>
                  <a:cubicBezTo>
                    <a:pt x="79419" y="207067"/>
                    <a:pt x="95202" y="216899"/>
                    <a:pt x="112278" y="222591"/>
                  </a:cubicBezTo>
                  <a:cubicBezTo>
                    <a:pt x="129354" y="228024"/>
                    <a:pt x="146689" y="228542"/>
                    <a:pt x="164023" y="224402"/>
                  </a:cubicBezTo>
                  <a:cubicBezTo>
                    <a:pt x="181358" y="220004"/>
                    <a:pt x="197399" y="210689"/>
                    <a:pt x="212147" y="195942"/>
                  </a:cubicBezTo>
                  <a:cubicBezTo>
                    <a:pt x="223531" y="184558"/>
                    <a:pt x="231551" y="171880"/>
                    <a:pt x="235691" y="158168"/>
                  </a:cubicBezTo>
                  <a:cubicBezTo>
                    <a:pt x="240089" y="144455"/>
                    <a:pt x="241124" y="131001"/>
                    <a:pt x="239313" y="118065"/>
                  </a:cubicBezTo>
                  <a:cubicBezTo>
                    <a:pt x="239830" y="113408"/>
                    <a:pt x="241124" y="109786"/>
                    <a:pt x="243711" y="107457"/>
                  </a:cubicBezTo>
                  <a:cubicBezTo>
                    <a:pt x="246040" y="105129"/>
                    <a:pt x="249145" y="103835"/>
                    <a:pt x="253026" y="103835"/>
                  </a:cubicBezTo>
                  <a:cubicBezTo>
                    <a:pt x="256907" y="103835"/>
                    <a:pt x="260011" y="105129"/>
                    <a:pt x="262340" y="107457"/>
                  </a:cubicBezTo>
                  <a:cubicBezTo>
                    <a:pt x="264927" y="110045"/>
                    <a:pt x="266221" y="113667"/>
                    <a:pt x="266221" y="118583"/>
                  </a:cubicBezTo>
                  <a:cubicBezTo>
                    <a:pt x="267773" y="135400"/>
                    <a:pt x="265962" y="152735"/>
                    <a:pt x="260270" y="170328"/>
                  </a:cubicBezTo>
                  <a:cubicBezTo>
                    <a:pt x="254578" y="187921"/>
                    <a:pt x="245522" y="202928"/>
                    <a:pt x="232586" y="215864"/>
                  </a:cubicBezTo>
                  <a:cubicBezTo>
                    <a:pt x="214217" y="234234"/>
                    <a:pt x="194036" y="246394"/>
                    <a:pt x="172303" y="252603"/>
                  </a:cubicBezTo>
                  <a:cubicBezTo>
                    <a:pt x="150311" y="258813"/>
                    <a:pt x="128319" y="258813"/>
                    <a:pt x="106327" y="252344"/>
                  </a:cubicBezTo>
                  <a:cubicBezTo>
                    <a:pt x="84335" y="246135"/>
                    <a:pt x="63896" y="233716"/>
                    <a:pt x="45526" y="215088"/>
                  </a:cubicBezTo>
                  <a:cubicBezTo>
                    <a:pt x="26122" y="195683"/>
                    <a:pt x="12668" y="174726"/>
                    <a:pt x="5941" y="152217"/>
                  </a:cubicBezTo>
                  <a:cubicBezTo>
                    <a:pt x="-1045" y="129708"/>
                    <a:pt x="-1821" y="108233"/>
                    <a:pt x="3354" y="87794"/>
                  </a:cubicBezTo>
                  <a:cubicBezTo>
                    <a:pt x="8528" y="67096"/>
                    <a:pt x="18360" y="49502"/>
                    <a:pt x="32849" y="35014"/>
                  </a:cubicBezTo>
                  <a:cubicBezTo>
                    <a:pt x="47079" y="20784"/>
                    <a:pt x="63896" y="10693"/>
                    <a:pt x="83042" y="4743"/>
                  </a:cubicBezTo>
                  <a:cubicBezTo>
                    <a:pt x="102187" y="-1208"/>
                    <a:pt x="122109" y="-1467"/>
                    <a:pt x="142808" y="3449"/>
                  </a:cubicBezTo>
                  <a:cubicBezTo>
                    <a:pt x="163506" y="8365"/>
                    <a:pt x="182910" y="19749"/>
                    <a:pt x="200763" y="37083"/>
                  </a:cubicBezTo>
                  <a:cubicBezTo>
                    <a:pt x="203350" y="39412"/>
                    <a:pt x="204644" y="43034"/>
                    <a:pt x="204644" y="47174"/>
                  </a:cubicBezTo>
                  <a:close/>
                  <a:moveTo>
                    <a:pt x="29226" y="107975"/>
                  </a:moveTo>
                  <a:cubicBezTo>
                    <a:pt x="26898" y="129190"/>
                    <a:pt x="33107" y="150665"/>
                    <a:pt x="47596" y="171622"/>
                  </a:cubicBezTo>
                  <a:lnTo>
                    <a:pt x="169457" y="49761"/>
                  </a:lnTo>
                  <a:lnTo>
                    <a:pt x="166611" y="46915"/>
                  </a:lnTo>
                  <a:cubicBezTo>
                    <a:pt x="154709" y="37342"/>
                    <a:pt x="141773" y="31650"/>
                    <a:pt x="127802" y="29580"/>
                  </a:cubicBezTo>
                  <a:cubicBezTo>
                    <a:pt x="113830" y="27511"/>
                    <a:pt x="100376" y="28804"/>
                    <a:pt x="87181" y="33720"/>
                  </a:cubicBezTo>
                  <a:cubicBezTo>
                    <a:pt x="73986" y="38377"/>
                    <a:pt x="62861" y="45621"/>
                    <a:pt x="53288" y="55194"/>
                  </a:cubicBezTo>
                  <a:cubicBezTo>
                    <a:pt x="39576" y="68907"/>
                    <a:pt x="31555" y="86500"/>
                    <a:pt x="29226" y="107975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CD0199E2-29D8-8AAF-F0EF-D2C691E8DFE4}"/>
                </a:ext>
              </a:extLst>
            </p:cNvPr>
            <p:cNvSpPr/>
            <p:nvPr/>
          </p:nvSpPr>
          <p:spPr>
            <a:xfrm>
              <a:off x="4422060" y="4096602"/>
              <a:ext cx="147474" cy="264419"/>
            </a:xfrm>
            <a:custGeom>
              <a:avLst/>
              <a:gdLst>
                <a:gd name="connsiteX0" fmla="*/ 139454 w 147474"/>
                <a:gd name="connsiteY0" fmla="*/ 3881 h 264419"/>
                <a:gd name="connsiteX1" fmla="*/ 147475 w 147474"/>
                <a:gd name="connsiteY1" fmla="*/ 16041 h 264419"/>
                <a:gd name="connsiteX2" fmla="*/ 143335 w 147474"/>
                <a:gd name="connsiteY2" fmla="*/ 27425 h 264419"/>
                <a:gd name="connsiteX3" fmla="*/ 133762 w 147474"/>
                <a:gd name="connsiteY3" fmla="*/ 31823 h 264419"/>
                <a:gd name="connsiteX4" fmla="*/ 123930 w 147474"/>
                <a:gd name="connsiteY4" fmla="*/ 29236 h 264419"/>
                <a:gd name="connsiteX5" fmla="*/ 109959 w 147474"/>
                <a:gd name="connsiteY5" fmla="*/ 26649 h 264419"/>
                <a:gd name="connsiteX6" fmla="*/ 72702 w 147474"/>
                <a:gd name="connsiteY6" fmla="*/ 41138 h 264419"/>
                <a:gd name="connsiteX7" fmla="*/ 42431 w 147474"/>
                <a:gd name="connsiteY7" fmla="*/ 78394 h 264419"/>
                <a:gd name="connsiteX8" fmla="*/ 30530 w 147474"/>
                <a:gd name="connsiteY8" fmla="*/ 124448 h 264419"/>
                <a:gd name="connsiteX9" fmla="*/ 30530 w 147474"/>
                <a:gd name="connsiteY9" fmla="*/ 249154 h 264419"/>
                <a:gd name="connsiteX10" fmla="*/ 26131 w 147474"/>
                <a:gd name="connsiteY10" fmla="*/ 260021 h 264419"/>
                <a:gd name="connsiteX11" fmla="*/ 15265 w 147474"/>
                <a:gd name="connsiteY11" fmla="*/ 264419 h 264419"/>
                <a:gd name="connsiteX12" fmla="*/ 4398 w 147474"/>
                <a:gd name="connsiteY12" fmla="*/ 260021 h 264419"/>
                <a:gd name="connsiteX13" fmla="*/ 0 w 147474"/>
                <a:gd name="connsiteY13" fmla="*/ 249154 h 264419"/>
                <a:gd name="connsiteX14" fmla="*/ 0 w 147474"/>
                <a:gd name="connsiteY14" fmla="*/ 22768 h 264419"/>
                <a:gd name="connsiteX15" fmla="*/ 4398 w 147474"/>
                <a:gd name="connsiteY15" fmla="*/ 11901 h 264419"/>
                <a:gd name="connsiteX16" fmla="*/ 15265 w 147474"/>
                <a:gd name="connsiteY16" fmla="*/ 7503 h 264419"/>
                <a:gd name="connsiteX17" fmla="*/ 26131 w 147474"/>
                <a:gd name="connsiteY17" fmla="*/ 11901 h 264419"/>
                <a:gd name="connsiteX18" fmla="*/ 30530 w 147474"/>
                <a:gd name="connsiteY18" fmla="*/ 22768 h 264419"/>
                <a:gd name="connsiteX19" fmla="*/ 30530 w 147474"/>
                <a:gd name="connsiteY19" fmla="*/ 67269 h 264419"/>
                <a:gd name="connsiteX20" fmla="*/ 65717 w 147474"/>
                <a:gd name="connsiteY20" fmla="*/ 19405 h 264419"/>
                <a:gd name="connsiteX21" fmla="*/ 121084 w 147474"/>
                <a:gd name="connsiteY21" fmla="*/ 0 h 264419"/>
                <a:gd name="connsiteX22" fmla="*/ 139454 w 147474"/>
                <a:gd name="connsiteY22" fmla="*/ 3881 h 264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7474" h="264419">
                  <a:moveTo>
                    <a:pt x="139454" y="3881"/>
                  </a:moveTo>
                  <a:cubicBezTo>
                    <a:pt x="144887" y="6468"/>
                    <a:pt x="147475" y="10608"/>
                    <a:pt x="147475" y="16041"/>
                  </a:cubicBezTo>
                  <a:cubicBezTo>
                    <a:pt x="147475" y="20698"/>
                    <a:pt x="146181" y="24579"/>
                    <a:pt x="143335" y="27425"/>
                  </a:cubicBezTo>
                  <a:cubicBezTo>
                    <a:pt x="140748" y="30271"/>
                    <a:pt x="137384" y="31823"/>
                    <a:pt x="133762" y="31823"/>
                  </a:cubicBezTo>
                  <a:cubicBezTo>
                    <a:pt x="131951" y="31823"/>
                    <a:pt x="128846" y="31047"/>
                    <a:pt x="123930" y="29236"/>
                  </a:cubicBezTo>
                  <a:cubicBezTo>
                    <a:pt x="119015" y="27425"/>
                    <a:pt x="114357" y="26649"/>
                    <a:pt x="109959" y="26649"/>
                  </a:cubicBezTo>
                  <a:cubicBezTo>
                    <a:pt x="97540" y="26649"/>
                    <a:pt x="85121" y="31565"/>
                    <a:pt x="72702" y="41138"/>
                  </a:cubicBezTo>
                  <a:cubicBezTo>
                    <a:pt x="60283" y="50711"/>
                    <a:pt x="50193" y="63129"/>
                    <a:pt x="42431" y="78394"/>
                  </a:cubicBezTo>
                  <a:cubicBezTo>
                    <a:pt x="34411" y="93659"/>
                    <a:pt x="30530" y="108924"/>
                    <a:pt x="30530" y="124448"/>
                  </a:cubicBezTo>
                  <a:lnTo>
                    <a:pt x="30530" y="249154"/>
                  </a:lnTo>
                  <a:cubicBezTo>
                    <a:pt x="30530" y="253553"/>
                    <a:pt x="28977" y="257175"/>
                    <a:pt x="26131" y="260021"/>
                  </a:cubicBezTo>
                  <a:cubicBezTo>
                    <a:pt x="23285" y="262867"/>
                    <a:pt x="19663" y="264419"/>
                    <a:pt x="15265" y="264419"/>
                  </a:cubicBezTo>
                  <a:cubicBezTo>
                    <a:pt x="10866" y="264419"/>
                    <a:pt x="7244" y="262867"/>
                    <a:pt x="4398" y="260021"/>
                  </a:cubicBezTo>
                  <a:cubicBezTo>
                    <a:pt x="1552" y="257175"/>
                    <a:pt x="0" y="253553"/>
                    <a:pt x="0" y="249154"/>
                  </a:cubicBezTo>
                  <a:lnTo>
                    <a:pt x="0" y="22768"/>
                  </a:lnTo>
                  <a:cubicBezTo>
                    <a:pt x="0" y="18370"/>
                    <a:pt x="1552" y="14747"/>
                    <a:pt x="4398" y="11901"/>
                  </a:cubicBezTo>
                  <a:cubicBezTo>
                    <a:pt x="7244" y="9055"/>
                    <a:pt x="10866" y="7503"/>
                    <a:pt x="15265" y="7503"/>
                  </a:cubicBezTo>
                  <a:cubicBezTo>
                    <a:pt x="19663" y="7503"/>
                    <a:pt x="23285" y="9055"/>
                    <a:pt x="26131" y="11901"/>
                  </a:cubicBezTo>
                  <a:cubicBezTo>
                    <a:pt x="28977" y="14747"/>
                    <a:pt x="30530" y="18370"/>
                    <a:pt x="30530" y="22768"/>
                  </a:cubicBezTo>
                  <a:lnTo>
                    <a:pt x="30530" y="67269"/>
                  </a:lnTo>
                  <a:cubicBezTo>
                    <a:pt x="38292" y="48123"/>
                    <a:pt x="49934" y="32082"/>
                    <a:pt x="65717" y="19405"/>
                  </a:cubicBezTo>
                  <a:cubicBezTo>
                    <a:pt x="81499" y="6727"/>
                    <a:pt x="99869" y="259"/>
                    <a:pt x="121084" y="0"/>
                  </a:cubicBezTo>
                  <a:cubicBezTo>
                    <a:pt x="127811" y="0"/>
                    <a:pt x="134021" y="1294"/>
                    <a:pt x="139454" y="3881"/>
                  </a:cubicBezTo>
                  <a:close/>
                </a:path>
              </a:pathLst>
            </a:custGeom>
            <a:grpFill/>
            <a:ln w="25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49" name="Picture 48" descr="A screenshot of a white card&#10;&#10;Description automatically generated">
            <a:extLst>
              <a:ext uri="{FF2B5EF4-FFF2-40B4-BE49-F238E27FC236}">
                <a16:creationId xmlns:a16="http://schemas.microsoft.com/office/drawing/2014/main" id="{B1D7BEBF-A1E5-B0B4-1658-3FE2514DE1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59" t="54229" r="12734" b="24962"/>
          <a:stretch/>
        </p:blipFill>
        <p:spPr>
          <a:xfrm>
            <a:off x="7073407" y="3883507"/>
            <a:ext cx="1508606" cy="422226"/>
          </a:xfrm>
          <a:prstGeom prst="rect">
            <a:avLst/>
          </a:prstGeom>
        </p:spPr>
      </p:pic>
      <p:pic>
        <p:nvPicPr>
          <p:cNvPr id="50" name="Picture 49" descr="A blue and white logo&#10;&#10;Description automatically generated">
            <a:extLst>
              <a:ext uri="{FF2B5EF4-FFF2-40B4-BE49-F238E27FC236}">
                <a16:creationId xmlns:a16="http://schemas.microsoft.com/office/drawing/2014/main" id="{F84E3205-3DD0-6640-EB3E-2F1BCCD470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50" b="14100"/>
          <a:stretch/>
        </p:blipFill>
        <p:spPr>
          <a:xfrm>
            <a:off x="4934257" y="3841062"/>
            <a:ext cx="1712659" cy="512304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B73720EE-7E52-9229-E999-C520E28B673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642370" y="3883507"/>
            <a:ext cx="1207375" cy="454055"/>
          </a:xfrm>
          <a:prstGeom prst="rect">
            <a:avLst/>
          </a:prstGeom>
        </p:spPr>
      </p:pic>
      <p:pic>
        <p:nvPicPr>
          <p:cNvPr id="52" name="Graphic 30">
            <a:extLst>
              <a:ext uri="{FF2B5EF4-FFF2-40B4-BE49-F238E27FC236}">
                <a16:creationId xmlns:a16="http://schemas.microsoft.com/office/drawing/2014/main" id="{3C1CDC97-67AC-3087-7A0A-397AF499A0D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08504" y="4052616"/>
            <a:ext cx="1207375" cy="178575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8952C614-B228-CDB6-BCEF-30F25B966C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08" t="31944" r="24980" b="33722"/>
          <a:stretch/>
        </p:blipFill>
        <p:spPr>
          <a:xfrm>
            <a:off x="10364162" y="1412532"/>
            <a:ext cx="1457535" cy="488225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3D5730B6-4A97-1919-AE15-A4750B9058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25" b="15280"/>
          <a:stretch/>
        </p:blipFill>
        <p:spPr>
          <a:xfrm>
            <a:off x="4963011" y="1319579"/>
            <a:ext cx="2355757" cy="610281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BF23B30-E7D1-249B-8372-4C9261EBF2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04" t="27815" r="19406" b="43155"/>
          <a:stretch/>
        </p:blipFill>
        <p:spPr>
          <a:xfrm>
            <a:off x="9786391" y="2126365"/>
            <a:ext cx="2063354" cy="610281"/>
          </a:xfrm>
          <a:prstGeom prst="rect">
            <a:avLst/>
          </a:prstGeom>
        </p:spPr>
      </p:pic>
      <p:pic>
        <p:nvPicPr>
          <p:cNvPr id="56" name="Picture 55" descr="A black background with blue text&#10;&#10;Description automatically generated">
            <a:extLst>
              <a:ext uri="{FF2B5EF4-FFF2-40B4-BE49-F238E27FC236}">
                <a16:creationId xmlns:a16="http://schemas.microsoft.com/office/drawing/2014/main" id="{CD8C45B5-A194-08F0-BB8D-F3E6643D0991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97" y="1396951"/>
            <a:ext cx="2748094" cy="610281"/>
          </a:xfrm>
          <a:prstGeom prst="rect">
            <a:avLst/>
          </a:prstGeom>
        </p:spPr>
      </p:pic>
      <p:pic>
        <p:nvPicPr>
          <p:cNvPr id="57" name="Picture 2">
            <a:extLst>
              <a:ext uri="{FF2B5EF4-FFF2-40B4-BE49-F238E27FC236}">
                <a16:creationId xmlns:a16="http://schemas.microsoft.com/office/drawing/2014/main" id="{DEDFE79D-D010-47F1-8524-487FFE9F2BF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79605" y="1423172"/>
            <a:ext cx="1592892" cy="398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128A1A2B-2DA5-5451-3158-18EFDFBB08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28" t="55401" r="15078" b="29048"/>
          <a:stretch/>
        </p:blipFill>
        <p:spPr>
          <a:xfrm>
            <a:off x="7509282" y="1381298"/>
            <a:ext cx="2664367" cy="610281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51C4B3BA-1C4A-EB10-EA88-BB6F88D231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51" t="25776" r="15417" b="46018"/>
          <a:stretch/>
        </p:blipFill>
        <p:spPr>
          <a:xfrm>
            <a:off x="226645" y="2126365"/>
            <a:ext cx="2455308" cy="610281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F9F0B187-CF46-4105-92D4-32D1E412D4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11" t="53536" r="18240" b="28250"/>
          <a:stretch/>
        </p:blipFill>
        <p:spPr>
          <a:xfrm>
            <a:off x="6702910" y="2089959"/>
            <a:ext cx="2146003" cy="610281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C584892D-85CD-C579-CDF8-98E5902C737B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619430" y="2207221"/>
            <a:ext cx="2146003" cy="37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0830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0340" y="457200"/>
            <a:ext cx="3996460" cy="60840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60340" y="1189329"/>
            <a:ext cx="3996459" cy="49161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7F2B6C7D-B329-8C7A-9979-B705984391CD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535200" y="457200"/>
            <a:ext cx="6753225" cy="5648325"/>
          </a:xfrm>
          <a:prstGeom prst="rect">
            <a:avLst/>
          </a:prstGeom>
          <a:solidFill>
            <a:schemeClr val="tx1"/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67" b="1" i="0">
                <a:ln>
                  <a:noFill/>
                </a:ln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ja-JP" noProof="0"/>
              <a:t>Click icon to add 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762187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32400" y="457200"/>
            <a:ext cx="7124400" cy="60840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add title</a:t>
            </a:r>
          </a:p>
        </p:txBody>
      </p:sp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B994DB9A-6A3D-94C5-12A6-26642379C18A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305920" cy="6302188"/>
          </a:xfrm>
          <a:prstGeom prst="rect">
            <a:avLst/>
          </a:prstGeom>
          <a:solidFill>
            <a:schemeClr val="tx1"/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67" b="1" i="0">
                <a:ln>
                  <a:noFill/>
                </a:ln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ja-JP" noProof="0"/>
              <a:t>Click icon to add picture</a:t>
            </a:r>
            <a:endParaRPr lang="en-US" noProof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0900C9BF-6B76-8D71-698C-35204B9FA8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3916" y="1666434"/>
            <a:ext cx="6502884" cy="113677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 i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D5B8E476-5866-6EEF-1D3D-316B2B7716BE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153915" y="3133104"/>
            <a:ext cx="6502883" cy="113677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 i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5C5B339-6639-CD2B-17AA-0EECC68259DD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5153916" y="4633417"/>
            <a:ext cx="6502882" cy="113677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 i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10F1C08-3832-680F-41C7-869628E30E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532400" y="1819605"/>
            <a:ext cx="463364" cy="710936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200" b="1" i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B90E2FE-F909-62A4-0184-074389A456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532400" y="3272746"/>
            <a:ext cx="463364" cy="737992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200" b="1" i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2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63E1AB0-1061-E282-DAD8-EF6DAF8113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532400" y="4752943"/>
            <a:ext cx="463364" cy="77822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200" b="1" i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33537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32400" y="457200"/>
            <a:ext cx="7124400" cy="60840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32400" y="1187999"/>
            <a:ext cx="7124400" cy="503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B994DB9A-6A3D-94C5-12A6-26642379C18A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305920" cy="6302188"/>
          </a:xfrm>
          <a:prstGeom prst="rect">
            <a:avLst/>
          </a:prstGeom>
          <a:solidFill>
            <a:schemeClr val="tx1"/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67" b="1" i="0">
                <a:ln>
                  <a:noFill/>
                </a:ln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ja-JP" noProof="0"/>
              <a:t>Click icon to add 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376793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ordic Summ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Nordic Summit logo">
            <a:extLst>
              <a:ext uri="{FF2B5EF4-FFF2-40B4-BE49-F238E27FC236}">
                <a16:creationId xmlns:a16="http://schemas.microsoft.com/office/drawing/2014/main" id="{050B9CCD-06C5-EED8-941A-A5F7A1E382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53318"/>
            <a:ext cx="12192000" cy="5041392"/>
          </a:xfrm>
          <a:prstGeom prst="rect">
            <a:avLst/>
          </a:prstGeom>
          <a:solidFill>
            <a:srgbClr val="D8DEE9"/>
          </a:solidFill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74528DC-6B10-5FC8-6BA2-88CC92484938}"/>
              </a:ext>
            </a:extLst>
          </p:cNvPr>
          <p:cNvSpPr txBox="1"/>
          <p:nvPr userDrawn="1"/>
        </p:nvSpPr>
        <p:spPr>
          <a:xfrm>
            <a:off x="0" y="5352720"/>
            <a:ext cx="12192000" cy="150528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4400">
                <a:latin typeface="Abel" panose="02000506030000020004" pitchFamily="2" charset="0"/>
                <a:ea typeface="+mj-ea"/>
                <a:cs typeface="+mj-cs"/>
              </a:defRPr>
            </a:lvl1pPr>
          </a:lstStyle>
          <a:p>
            <a:pPr lvl="0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537B12A-CF69-0947-1D32-5E94B05690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6888" y="5514975"/>
            <a:ext cx="11477625" cy="1189038"/>
          </a:xfrm>
        </p:spPr>
        <p:txBody>
          <a:bodyPr anchor="ctr"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57748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32400" y="457200"/>
            <a:ext cx="7124400" cy="60840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en-US" b="1" dirty="0"/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add title</a:t>
            </a:r>
          </a:p>
        </p:txBody>
      </p:sp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B994DB9A-6A3D-94C5-12A6-26642379C18A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305920" cy="6302188"/>
          </a:xfrm>
          <a:prstGeom prst="rect">
            <a:avLst/>
          </a:prstGeom>
          <a:solidFill>
            <a:schemeClr val="tx1"/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67" b="1" i="0">
                <a:ln>
                  <a:noFill/>
                </a:ln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ja-JP" noProof="0"/>
              <a:t>Click icon to add picture</a:t>
            </a:r>
            <a:endParaRPr lang="en-US" noProof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A88363B-CE01-F26F-3254-8EACEFB3B6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32398" y="1522800"/>
            <a:ext cx="7124401" cy="465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3141D8-468F-5ACA-8C6C-B89C1AE0AF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32438" y="1065600"/>
            <a:ext cx="7124213" cy="42501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16617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5F0452A0-F32A-D0F2-2B71-361C69625A46}"/>
              </a:ext>
            </a:extLst>
          </p:cNvPr>
          <p:cNvSpPr txBox="1">
            <a:spLocks noGrp="1"/>
          </p:cNvSpPr>
          <p:nvPr>
            <p:ph type="title" idx="4294967295" hasCustomPrompt="1"/>
          </p:nvPr>
        </p:nvSpPr>
        <p:spPr>
          <a:xfrm>
            <a:off x="496200" y="-608400"/>
            <a:ext cx="11199600" cy="6084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b-NO" sz="3200" b="1" kern="1200" dirty="0">
                <a:solidFill>
                  <a:schemeClr val="tx1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Segoe UI" panose="020B0502040204020203" pitchFamily="34" charset="0"/>
              </a:rPr>
              <a:t>Thank you slid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C32CC27-EB2C-1E3F-6BB6-1FB216A3A2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71924" y="233196"/>
            <a:ext cx="7728667" cy="3195804"/>
          </a:xfrm>
          <a:prstGeom prst="rect">
            <a:avLst/>
          </a:prstGeom>
          <a:solidFill>
            <a:srgbClr val="D8DEE9"/>
          </a:solidFill>
        </p:spPr>
      </p:pic>
      <p:sp>
        <p:nvSpPr>
          <p:cNvPr id="3" name="TextBox 2" descr="Thank you!">
            <a:extLst>
              <a:ext uri="{FF2B5EF4-FFF2-40B4-BE49-F238E27FC236}">
                <a16:creationId xmlns:a16="http://schemas.microsoft.com/office/drawing/2014/main" id="{F0406A68-F8A7-0002-3058-85DD3BE72549}"/>
              </a:ext>
            </a:extLst>
          </p:cNvPr>
          <p:cNvSpPr txBox="1"/>
          <p:nvPr userDrawn="1"/>
        </p:nvSpPr>
        <p:spPr>
          <a:xfrm>
            <a:off x="0" y="3538330"/>
            <a:ext cx="12192000" cy="289427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4400">
                <a:latin typeface="Abel" panose="02000506030000020004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1150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2528088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C32CC27-EB2C-1E3F-6BB6-1FB216A3A2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71924" y="233196"/>
            <a:ext cx="7728667" cy="3195804"/>
          </a:xfrm>
          <a:prstGeom prst="rect">
            <a:avLst/>
          </a:prstGeom>
          <a:solidFill>
            <a:srgbClr val="D8DEE9"/>
          </a:solidFill>
        </p:spPr>
      </p:pic>
      <p:sp>
        <p:nvSpPr>
          <p:cNvPr id="3" name="TextBox 2" descr="QA">
            <a:extLst>
              <a:ext uri="{FF2B5EF4-FFF2-40B4-BE49-F238E27FC236}">
                <a16:creationId xmlns:a16="http://schemas.microsoft.com/office/drawing/2014/main" id="{F0406A68-F8A7-0002-3058-85DD3BE72549}"/>
              </a:ext>
            </a:extLst>
          </p:cNvPr>
          <p:cNvSpPr txBox="1"/>
          <p:nvPr userDrawn="1"/>
        </p:nvSpPr>
        <p:spPr>
          <a:xfrm>
            <a:off x="0" y="3538330"/>
            <a:ext cx="12192000" cy="289427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4400">
                <a:latin typeface="Abel" panose="02000506030000020004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11500"/>
              <a:t>QA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0C4CC87F-8CD2-8EA6-94E2-5969C008A58E}"/>
              </a:ext>
            </a:extLst>
          </p:cNvPr>
          <p:cNvSpPr txBox="1">
            <a:spLocks noGrp="1"/>
          </p:cNvSpPr>
          <p:nvPr>
            <p:ph type="title" idx="4294967295" hasCustomPrompt="1"/>
          </p:nvPr>
        </p:nvSpPr>
        <p:spPr>
          <a:xfrm>
            <a:off x="496200" y="-608400"/>
            <a:ext cx="11199600" cy="6084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b-NO" sz="3200" b="1" kern="1200" dirty="0">
                <a:solidFill>
                  <a:schemeClr val="tx1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Segoe UI" panose="020B0502040204020203" pitchFamily="34" charset="0"/>
              </a:rPr>
              <a:t>QA with speaker(s)</a:t>
            </a:r>
          </a:p>
        </p:txBody>
      </p:sp>
    </p:spTree>
    <p:extLst>
      <p:ext uri="{BB962C8B-B14F-4D97-AF65-F5344CB8AC3E}">
        <p14:creationId xmlns:p14="http://schemas.microsoft.com/office/powerpoint/2010/main" val="28104136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C32CC27-EB2C-1E3F-6BB6-1FB216A3A2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71924" y="233196"/>
            <a:ext cx="7728667" cy="3195804"/>
          </a:xfrm>
          <a:prstGeom prst="rect">
            <a:avLst/>
          </a:prstGeom>
          <a:solidFill>
            <a:srgbClr val="D8DEE9"/>
          </a:solidFill>
        </p:spPr>
      </p:pic>
      <p:sp>
        <p:nvSpPr>
          <p:cNvPr id="3" name="TextBox 2" descr="QA">
            <a:extLst>
              <a:ext uri="{FF2B5EF4-FFF2-40B4-BE49-F238E27FC236}">
                <a16:creationId xmlns:a16="http://schemas.microsoft.com/office/drawing/2014/main" id="{F0406A68-F8A7-0002-3058-85DD3BE72549}"/>
              </a:ext>
            </a:extLst>
          </p:cNvPr>
          <p:cNvSpPr txBox="1"/>
          <p:nvPr userDrawn="1"/>
        </p:nvSpPr>
        <p:spPr>
          <a:xfrm>
            <a:off x="0" y="3538330"/>
            <a:ext cx="12192000" cy="289427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4400">
                <a:latin typeface="Abel" panose="02000506030000020004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11500"/>
              <a:t>FEEDBACK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0C4CC87F-8CD2-8EA6-94E2-5969C008A58E}"/>
              </a:ext>
            </a:extLst>
          </p:cNvPr>
          <p:cNvSpPr txBox="1">
            <a:spLocks noGrp="1"/>
          </p:cNvSpPr>
          <p:nvPr>
            <p:ph type="title" idx="4294967295" hasCustomPrompt="1"/>
          </p:nvPr>
        </p:nvSpPr>
        <p:spPr>
          <a:xfrm>
            <a:off x="496200" y="-608400"/>
            <a:ext cx="11199600" cy="6084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b-NO" sz="3200" b="1" kern="1200" dirty="0">
                <a:solidFill>
                  <a:schemeClr val="tx1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Segoe UI" panose="020B0502040204020203" pitchFamily="34" charset="0"/>
              </a:rPr>
              <a:t>Feedback to speakers</a:t>
            </a:r>
          </a:p>
        </p:txBody>
      </p:sp>
    </p:spTree>
    <p:extLst>
      <p:ext uri="{BB962C8B-B14F-4D97-AF65-F5344CB8AC3E}">
        <p14:creationId xmlns:p14="http://schemas.microsoft.com/office/powerpoint/2010/main" val="16498261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9C30227-3D33-2C97-E4AE-B94DE14A70A9}"/>
              </a:ext>
            </a:extLst>
          </p:cNvPr>
          <p:cNvSpPr txBox="1">
            <a:spLocks/>
          </p:cNvSpPr>
          <p:nvPr userDrawn="1"/>
        </p:nvSpPr>
        <p:spPr>
          <a:xfrm>
            <a:off x="496200" y="-608400"/>
            <a:ext cx="11199600" cy="6084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b-NO" sz="3200" b="1" kern="1200" dirty="0">
                <a:solidFill>
                  <a:schemeClr val="tx1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>
              <a:defRPr/>
            </a:pPr>
            <a:r>
              <a:rPr lang="en-US"/>
              <a:t>Questions &amp; Answers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2C97A88B-94DF-0B9E-9922-B2E7A1E14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9550" y="89574"/>
            <a:ext cx="4883435" cy="2019300"/>
          </a:xfrm>
          <a:prstGeom prst="rect">
            <a:avLst/>
          </a:prstGeom>
          <a:solidFill>
            <a:srgbClr val="D8DEE9"/>
          </a:solidFill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A075A2F3-A99D-3789-8D89-FBD5DEBF78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8599"/>
          <a:stretch/>
        </p:blipFill>
        <p:spPr>
          <a:xfrm>
            <a:off x="6762467" y="697581"/>
            <a:ext cx="4894751" cy="5125112"/>
          </a:xfrm>
          <a:prstGeom prst="rect">
            <a:avLst/>
          </a:prstGeom>
        </p:spPr>
      </p:pic>
      <p:pic>
        <p:nvPicPr>
          <p:cNvPr id="5" name="Picture Placeholder 9" descr="Sticky notes with question marks">
            <a:extLst>
              <a:ext uri="{FF2B5EF4-FFF2-40B4-BE49-F238E27FC236}">
                <a16:creationId xmlns:a16="http://schemas.microsoft.com/office/drawing/2014/main" id="{FCF1A8FF-CDE9-117B-16B2-0DBD2405521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87" r="14487"/>
          <a:stretch/>
        </p:blipFill>
        <p:spPr>
          <a:xfrm rot="20457976">
            <a:off x="7640638" y="1384300"/>
            <a:ext cx="3568700" cy="3349625"/>
          </a:xfrm>
          <a:prstGeom prst="pentagon">
            <a:avLst/>
          </a:prstGeom>
          <a:noFill/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30B20C1-6633-BA88-DE25-C57C58A0A0F0}"/>
              </a:ext>
            </a:extLst>
          </p:cNvPr>
          <p:cNvSpPr txBox="1"/>
          <p:nvPr userDrawn="1"/>
        </p:nvSpPr>
        <p:spPr>
          <a:xfrm>
            <a:off x="664366" y="3149842"/>
            <a:ext cx="5431634" cy="14961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/>
            </a:lvl1pPr>
            <a:lvl2pPr marL="685800" indent="-2286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lvl4pPr>
            <a:lvl5pPr marL="2057400" indent="-2286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US"/>
              <a:t>Do you have any questions? </a:t>
            </a:r>
          </a:p>
        </p:txBody>
      </p:sp>
    </p:spTree>
    <p:extLst>
      <p:ext uri="{BB962C8B-B14F-4D97-AF65-F5344CB8AC3E}">
        <p14:creationId xmlns:p14="http://schemas.microsoft.com/office/powerpoint/2010/main" val="1781558723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 descr="Microsoft Power Platform logo">
            <a:extLst>
              <a:ext uri="{FF2B5EF4-FFF2-40B4-BE49-F238E27FC236}">
                <a16:creationId xmlns:a16="http://schemas.microsoft.com/office/drawing/2014/main" id="{226A48B9-9D98-1261-90C8-6643F1D4E4B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4894" y="597820"/>
            <a:ext cx="306832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425780"/>
            <a:ext cx="5514975" cy="110799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5514975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2BE9B4C-457B-DAE3-024C-78127F20AD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200" y="4294188"/>
            <a:ext cx="5511800" cy="24622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Title, company, or o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9259104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384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 descr="Microsoft Power Platform logo">
            <a:extLst>
              <a:ext uri="{FF2B5EF4-FFF2-40B4-BE49-F238E27FC236}">
                <a16:creationId xmlns:a16="http://schemas.microsoft.com/office/drawing/2014/main" id="{226A48B9-9D98-1261-90C8-6643F1D4E4B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4894" y="597820"/>
            <a:ext cx="306832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425780"/>
            <a:ext cx="5514975" cy="110799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5514975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2BE9B4C-457B-DAE3-024C-78127F20AD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200" y="4294188"/>
            <a:ext cx="5511800" cy="24622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Title, company, or o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8211534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384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93F68-FC36-7494-75D8-E374ACD66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200" y="4294188"/>
            <a:ext cx="9144000" cy="24622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Title, company, or other information</a:t>
            </a:r>
          </a:p>
        </p:txBody>
      </p:sp>
      <p:pic>
        <p:nvPicPr>
          <p:cNvPr id="7" name="Graphic 6" descr="Microsoft Power Platform logo">
            <a:extLst>
              <a:ext uri="{FF2B5EF4-FFF2-40B4-BE49-F238E27FC236}">
                <a16:creationId xmlns:a16="http://schemas.microsoft.com/office/drawing/2014/main" id="{FEE7DFBB-29DD-502E-C614-FEB374B2455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4894" y="597820"/>
            <a:ext cx="306832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0388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93F68-FC36-7494-75D8-E374ACD66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200" y="4294188"/>
            <a:ext cx="9144000" cy="24622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Title, company, or other information</a:t>
            </a:r>
          </a:p>
        </p:txBody>
      </p:sp>
      <p:pic>
        <p:nvPicPr>
          <p:cNvPr id="7" name="Graphic 6" descr="Microsoft Power Platform logo">
            <a:extLst>
              <a:ext uri="{FF2B5EF4-FFF2-40B4-BE49-F238E27FC236}">
                <a16:creationId xmlns:a16="http://schemas.microsoft.com/office/drawing/2014/main" id="{2C40811D-7D86-4FB4-ED32-11F91138C3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4894" y="597820"/>
            <a:ext cx="306832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416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D4142-DBC4-E65B-1F41-30597BE74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3152001"/>
            <a:ext cx="2386712" cy="553998"/>
          </a:xfrm>
        </p:spPr>
        <p:txBody>
          <a:bodyPr anchor="ctr" anchorCtr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0E8775-9DC0-A022-7A80-27B9652441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40200" y="2622626"/>
            <a:ext cx="7469188" cy="1612749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7460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241">
          <p15:clr>
            <a:srgbClr val="FBAE40"/>
          </p15:clr>
        </p15:guide>
        <p15:guide id="2" pos="1874">
          <p15:clr>
            <a:srgbClr val="FBAE40"/>
          </p15:clr>
        </p15:guide>
        <p15:guide id="3" pos="260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s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Picture 63">
            <a:extLst>
              <a:ext uri="{FF2B5EF4-FFF2-40B4-BE49-F238E27FC236}">
                <a16:creationId xmlns:a16="http://schemas.microsoft.com/office/drawing/2014/main" id="{A075A2F3-A99D-3789-8D89-FBD5DEBF78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8599"/>
          <a:stretch/>
        </p:blipFill>
        <p:spPr>
          <a:xfrm>
            <a:off x="6762467" y="697581"/>
            <a:ext cx="4894751" cy="5125112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2C97A88B-94DF-0B9E-9922-B2E7A1E14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9550" y="89574"/>
            <a:ext cx="4883435" cy="2019300"/>
          </a:xfrm>
          <a:prstGeom prst="rect">
            <a:avLst/>
          </a:prstGeom>
          <a:solidFill>
            <a:srgbClr val="D8DEE9"/>
          </a:solidFill>
        </p:spPr>
      </p:pic>
      <p:sp>
        <p:nvSpPr>
          <p:cNvPr id="2" name="Title 2">
            <a:extLst>
              <a:ext uri="{FF2B5EF4-FFF2-40B4-BE49-F238E27FC236}">
                <a16:creationId xmlns:a16="http://schemas.microsoft.com/office/drawing/2014/main" id="{B9C30227-3D33-2C97-E4AE-B94DE14A70A9}"/>
              </a:ext>
            </a:extLst>
          </p:cNvPr>
          <p:cNvSpPr txBox="1">
            <a:spLocks/>
          </p:cNvSpPr>
          <p:nvPr userDrawn="1"/>
        </p:nvSpPr>
        <p:spPr>
          <a:xfrm>
            <a:off x="496200" y="-608400"/>
            <a:ext cx="11199600" cy="6084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b-NO" sz="3200" b="1" kern="1200" dirty="0">
                <a:solidFill>
                  <a:schemeClr val="tx1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>
              <a:defRPr/>
            </a:pPr>
            <a:r>
              <a:rPr lang="en-US"/>
              <a:t>Session introduction</a:t>
            </a:r>
          </a:p>
        </p:txBody>
      </p:sp>
      <p:sp>
        <p:nvSpPr>
          <p:cNvPr id="70" name="Content Placeholder 2">
            <a:extLst>
              <a:ext uri="{FF2B5EF4-FFF2-40B4-BE49-F238E27FC236}">
                <a16:creationId xmlns:a16="http://schemas.microsoft.com/office/drawing/2014/main" id="{94C669A4-AC23-EDDD-61B7-5707ABD6AF8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64366" y="3149843"/>
            <a:ext cx="5883658" cy="818232"/>
          </a:xfr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4000"/>
            </a:lvl1pPr>
          </a:lstStyle>
          <a:p>
            <a:pPr lvl="0"/>
            <a:r>
              <a:rPr lang="en-US"/>
              <a:t>Your title</a:t>
            </a:r>
            <a:endParaRPr lang="en-GB"/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8AC9BA92-3B37-9FC5-378A-D1D7B66F7C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4366" y="4057650"/>
            <a:ext cx="5883659" cy="1544128"/>
          </a:xfrm>
        </p:spPr>
        <p:txBody>
          <a:bodyPr>
            <a:noAutofit/>
          </a:bodyPr>
          <a:lstStyle>
            <a:lvl1pPr marL="0" indent="0">
              <a:buNone/>
              <a:defRPr sz="4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Session title</a:t>
            </a:r>
            <a:endParaRPr lang="en-GB"/>
          </a:p>
        </p:txBody>
      </p:sp>
      <p:sp>
        <p:nvSpPr>
          <p:cNvPr id="65" name="Picture Placeholder 2" descr="Speaker Bio Picture">
            <a:extLst>
              <a:ext uri="{FF2B5EF4-FFF2-40B4-BE49-F238E27FC236}">
                <a16:creationId xmlns:a16="http://schemas.microsoft.com/office/drawing/2014/main" id="{0687944E-254C-B4BB-5C9E-2E2523E97EEC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 rot="20457976">
            <a:off x="7639888" y="1384449"/>
            <a:ext cx="3568792" cy="3349003"/>
          </a:xfrm>
          <a:prstGeom prst="pentagon">
            <a:avLst/>
          </a:prstGeom>
          <a:solidFill>
            <a:srgbClr val="DBDBDB">
              <a:alpha val="65098"/>
            </a:srgbClr>
          </a:solidFill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D3E5AC-2471-48C4-7C83-1D99BF123A3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64366" y="2177888"/>
            <a:ext cx="5884863" cy="881062"/>
          </a:xfrm>
        </p:spPr>
        <p:txBody>
          <a:bodyPr anchor="ctr">
            <a:noAutofit/>
          </a:bodyPr>
          <a:lstStyle>
            <a:lvl1pPr marL="0" indent="0"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Your name</a:t>
            </a:r>
          </a:p>
        </p:txBody>
      </p:sp>
    </p:spTree>
    <p:extLst>
      <p:ext uri="{BB962C8B-B14F-4D97-AF65-F5344CB8AC3E}">
        <p14:creationId xmlns:p14="http://schemas.microsoft.com/office/powerpoint/2010/main" val="11472065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452705"/>
          </a:xfrm>
        </p:spPr>
        <p:txBody>
          <a:bodyPr wrap="square">
            <a:spAutoFit/>
          </a:bodyPr>
          <a:lstStyle>
            <a:lvl1pPr marL="141288" indent="-141288">
              <a:defRPr lang="en-US" sz="16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452705"/>
          </a:xfrm>
        </p:spPr>
        <p:txBody>
          <a:bodyPr wrap="square">
            <a:spAutoFit/>
          </a:bodyPr>
          <a:lstStyle>
            <a:lvl1pPr marL="141288" indent="-141288">
              <a:defRPr lang="en-US" sz="16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452705"/>
          </a:xfrm>
        </p:spPr>
        <p:txBody>
          <a:bodyPr wrap="square">
            <a:spAutoFit/>
          </a:bodyPr>
          <a:lstStyle>
            <a:lvl1pPr marL="141288" indent="-141288">
              <a:defRPr lang="en-US" sz="16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452705"/>
          </a:xfrm>
        </p:spPr>
        <p:txBody>
          <a:bodyPr wrap="square">
            <a:spAutoFit/>
          </a:bodyPr>
          <a:lstStyle>
            <a:lvl1pPr marL="141288" indent="-141288">
              <a:defRPr lang="en-US" sz="16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833079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3264813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27711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9860073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76910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341906"/>
          </a:xfrm>
        </p:spPr>
        <p:txBody>
          <a:bodyPr>
            <a:spAutoFit/>
          </a:bodyPr>
          <a:lstStyle>
            <a:lvl1pPr marL="171450" indent="-171450">
              <a:defRPr lang="en-US" sz="2000" dirty="0"/>
            </a:lvl1pPr>
            <a:lvl2pPr marL="342900" indent="-171450">
              <a:defRPr lang="en-US" sz="1600" dirty="0"/>
            </a:lvl2pPr>
            <a:lvl3pPr marL="514350" indent="-171450">
              <a:defRPr lang="en-US" sz="1400" dirty="0"/>
            </a:lvl3pPr>
            <a:lvl4pPr marL="666750" indent="-152400">
              <a:defRPr lang="en-US" sz="1200" dirty="0"/>
            </a:lvl4pPr>
            <a:lvl5pPr marL="793750" indent="-120650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341906"/>
          </a:xfrm>
        </p:spPr>
        <p:txBody>
          <a:bodyPr>
            <a:spAutoFit/>
          </a:bodyPr>
          <a:lstStyle>
            <a:lvl1pPr marL="171450" indent="-171450">
              <a:defRPr lang="en-US" sz="2000" dirty="0"/>
            </a:lvl1pPr>
            <a:lvl2pPr marL="342900" indent="-171450">
              <a:defRPr lang="en-US" sz="1600" dirty="0"/>
            </a:lvl2pPr>
            <a:lvl3pPr marL="514350" indent="-171450">
              <a:defRPr lang="en-US" sz="1400" dirty="0"/>
            </a:lvl3pPr>
            <a:lvl4pPr marL="685800" indent="-136525">
              <a:defRPr lang="en-US" sz="1200" dirty="0"/>
            </a:lvl4pPr>
            <a:lvl5pPr marL="793750" indent="-120650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405284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1"/>
            <a:ext cx="5214937" cy="4187827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6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0662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283115"/>
            <a:ext cx="3264408" cy="124341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/>
            </a:lvl1pPr>
            <a:lvl2pPr>
              <a:defRPr lang="en-US" sz="1400"/>
            </a:lvl2pPr>
            <a:lvl3pPr>
              <a:defRPr lang="en-US" sz="1400"/>
            </a:lvl3pPr>
            <a:lvl4pPr>
              <a:defRPr lang="en-US" sz="1200"/>
            </a:lvl4pPr>
            <a:lvl5pPr>
              <a:defRPr lang="en-US" sz="1200" dirty="0"/>
            </a:lvl5pPr>
          </a:lstStyle>
          <a:p>
            <a:pPr marL="141288" lvl="0" indent="-141288"/>
            <a:r>
              <a:rPr lang="en-US"/>
              <a:t>Click to edit Master text styles</a:t>
            </a:r>
          </a:p>
          <a:p>
            <a:pPr marL="141288" lvl="1" indent="-141288"/>
            <a:r>
              <a:rPr lang="en-US"/>
              <a:t>Second level</a:t>
            </a:r>
          </a:p>
          <a:p>
            <a:pPr marL="141288" lvl="2" indent="-141288"/>
            <a:r>
              <a:rPr lang="en-US"/>
              <a:t>Third level</a:t>
            </a:r>
          </a:p>
          <a:p>
            <a:pPr marL="141288" lvl="3" indent="-141288"/>
            <a:r>
              <a:rPr lang="en-US"/>
              <a:t>Fourth level</a:t>
            </a:r>
          </a:p>
          <a:p>
            <a:pPr marL="141288" lvl="4" indent="-141288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283115"/>
            <a:ext cx="3264408" cy="124341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/>
            </a:lvl1pPr>
            <a:lvl2pPr>
              <a:defRPr lang="en-US" sz="1400"/>
            </a:lvl2pPr>
            <a:lvl3pPr>
              <a:defRPr lang="en-US" sz="1400"/>
            </a:lvl3pPr>
            <a:lvl4pPr>
              <a:defRPr lang="en-US" sz="1200"/>
            </a:lvl4pPr>
            <a:lvl5pPr>
              <a:defRPr lang="en-US" sz="1200" dirty="0"/>
            </a:lvl5pPr>
          </a:lstStyle>
          <a:p>
            <a:pPr marL="141288" lvl="0" indent="-141288"/>
            <a:r>
              <a:rPr lang="en-US"/>
              <a:t>Click to edit Master text styles</a:t>
            </a:r>
          </a:p>
          <a:p>
            <a:pPr marL="141288" lvl="1" indent="-141288"/>
            <a:r>
              <a:rPr lang="en-US"/>
              <a:t>Second level</a:t>
            </a:r>
          </a:p>
          <a:p>
            <a:pPr marL="141288" lvl="2" indent="-141288"/>
            <a:r>
              <a:rPr lang="en-US"/>
              <a:t>Third level</a:t>
            </a:r>
          </a:p>
          <a:p>
            <a:pPr marL="141288" lvl="3" indent="-141288"/>
            <a:r>
              <a:rPr lang="en-US"/>
              <a:t>Fourth level</a:t>
            </a:r>
          </a:p>
          <a:p>
            <a:pPr marL="141288" lvl="4" indent="-141288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283115"/>
            <a:ext cx="3264408" cy="124341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/>
            </a:lvl1pPr>
            <a:lvl2pPr>
              <a:defRPr lang="en-US" sz="1400"/>
            </a:lvl2pPr>
            <a:lvl3pPr>
              <a:defRPr lang="en-US" sz="1400"/>
            </a:lvl3pPr>
            <a:lvl4pPr>
              <a:defRPr lang="en-US" sz="1200"/>
            </a:lvl4pPr>
            <a:lvl5pPr>
              <a:defRPr lang="en-US" sz="1200" dirty="0"/>
            </a:lvl5pPr>
          </a:lstStyle>
          <a:p>
            <a:pPr marL="141288" lvl="0" indent="-141288"/>
            <a:r>
              <a:rPr lang="en-US"/>
              <a:t>Click to edit Master text styles</a:t>
            </a:r>
          </a:p>
          <a:p>
            <a:pPr marL="141288" lvl="1" indent="-141288"/>
            <a:r>
              <a:rPr lang="en-US"/>
              <a:t>Second level</a:t>
            </a:r>
          </a:p>
          <a:p>
            <a:pPr marL="141288" lvl="2" indent="-141288"/>
            <a:r>
              <a:rPr lang="en-US"/>
              <a:t>Third level</a:t>
            </a:r>
          </a:p>
          <a:p>
            <a:pPr marL="141288" lvl="3" indent="-141288"/>
            <a:r>
              <a:rPr lang="en-US"/>
              <a:t>Fourth level</a:t>
            </a:r>
          </a:p>
          <a:p>
            <a:pPr marL="141288" lvl="4" indent="-141288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69233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437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452705"/>
          </a:xfrm>
        </p:spPr>
        <p:txBody>
          <a:bodyPr wrap="square">
            <a:spAutoFit/>
          </a:bodyPr>
          <a:lstStyle>
            <a:lvl1pPr marL="141288" indent="-141288">
              <a:defRPr lang="en-US" sz="16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452705"/>
          </a:xfrm>
        </p:spPr>
        <p:txBody>
          <a:bodyPr wrap="square">
            <a:spAutoFit/>
          </a:bodyPr>
          <a:lstStyle>
            <a:lvl1pPr marL="141288" indent="-141288">
              <a:defRPr lang="en-US" sz="16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452705"/>
          </a:xfrm>
        </p:spPr>
        <p:txBody>
          <a:bodyPr wrap="square">
            <a:spAutoFit/>
          </a:bodyPr>
          <a:lstStyle>
            <a:lvl1pPr marL="141288" indent="-141288">
              <a:defRPr lang="en-US" sz="16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452705"/>
          </a:xfrm>
        </p:spPr>
        <p:txBody>
          <a:bodyPr wrap="square">
            <a:spAutoFit/>
          </a:bodyPr>
          <a:lstStyle>
            <a:lvl1pPr marL="141288" indent="-141288">
              <a:defRPr lang="en-US" sz="16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31638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8963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/>
            </a:lvl1pPr>
            <a:lvl2pPr>
              <a:defRPr lang="en-US" sz="1400"/>
            </a:lvl2pPr>
            <a:lvl3pPr>
              <a:defRPr lang="en-US" sz="1400"/>
            </a:lvl3pPr>
            <a:lvl4pPr>
              <a:defRPr lang="en-US" sz="1200"/>
            </a:lvl4pPr>
            <a:lvl5pPr>
              <a:defRPr lang="en-US" sz="1200" dirty="0"/>
            </a:lvl5pPr>
          </a:lstStyle>
          <a:p>
            <a:pPr marL="141288" lvl="0" indent="-141288"/>
            <a:r>
              <a:rPr lang="en-US"/>
              <a:t>Click to edit Master text styles</a:t>
            </a:r>
          </a:p>
          <a:p>
            <a:pPr marL="141288" lvl="1" indent="-141288"/>
            <a:r>
              <a:rPr lang="en-US"/>
              <a:t>Second level</a:t>
            </a:r>
          </a:p>
          <a:p>
            <a:pPr marL="141288" lvl="2" indent="-141288"/>
            <a:r>
              <a:rPr lang="en-US"/>
              <a:t>Third level</a:t>
            </a:r>
          </a:p>
          <a:p>
            <a:pPr marL="141288" lvl="3" indent="-141288"/>
            <a:r>
              <a:rPr lang="en-US"/>
              <a:t>Fourth level</a:t>
            </a:r>
          </a:p>
          <a:p>
            <a:pPr marL="141288" lvl="4" indent="-141288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8963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/>
            </a:lvl1pPr>
            <a:lvl2pPr>
              <a:defRPr lang="en-US" sz="1400"/>
            </a:lvl2pPr>
            <a:lvl3pPr>
              <a:defRPr lang="en-US" sz="1400"/>
            </a:lvl3pPr>
            <a:lvl4pPr>
              <a:defRPr lang="en-US" sz="1200"/>
            </a:lvl4pPr>
            <a:lvl5pPr>
              <a:defRPr lang="en-US" sz="1200" dirty="0"/>
            </a:lvl5pPr>
          </a:lstStyle>
          <a:p>
            <a:pPr marL="141288" lvl="0" indent="-141288"/>
            <a:r>
              <a:rPr lang="en-US"/>
              <a:t>Click to edit Master text styles</a:t>
            </a:r>
          </a:p>
          <a:p>
            <a:pPr marL="141288" lvl="1" indent="-141288"/>
            <a:r>
              <a:rPr lang="en-US"/>
              <a:t>Second level</a:t>
            </a:r>
          </a:p>
          <a:p>
            <a:pPr marL="141288" lvl="2" indent="-141288"/>
            <a:r>
              <a:rPr lang="en-US"/>
              <a:t>Third level</a:t>
            </a:r>
          </a:p>
          <a:p>
            <a:pPr marL="141288" lvl="3" indent="-141288"/>
            <a:r>
              <a:rPr lang="en-US"/>
              <a:t>Fourth level</a:t>
            </a:r>
          </a:p>
          <a:p>
            <a:pPr marL="141288" lvl="4" indent="-141288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8963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/>
            </a:lvl1pPr>
            <a:lvl2pPr>
              <a:defRPr lang="en-US" sz="1400"/>
            </a:lvl2pPr>
            <a:lvl3pPr>
              <a:defRPr lang="en-US" sz="1400"/>
            </a:lvl3pPr>
            <a:lvl4pPr>
              <a:defRPr lang="en-US" sz="1200"/>
            </a:lvl4pPr>
            <a:lvl5pPr>
              <a:defRPr lang="en-US" sz="1200" dirty="0"/>
            </a:lvl5pPr>
          </a:lstStyle>
          <a:p>
            <a:pPr marL="141288" lvl="0" indent="-141288"/>
            <a:r>
              <a:rPr lang="en-US"/>
              <a:t>Click to edit Master text styles</a:t>
            </a:r>
          </a:p>
          <a:p>
            <a:pPr marL="141288" lvl="1" indent="-141288"/>
            <a:r>
              <a:rPr lang="en-US"/>
              <a:t>Second level</a:t>
            </a:r>
          </a:p>
          <a:p>
            <a:pPr marL="141288" lvl="2" indent="-141288"/>
            <a:r>
              <a:rPr lang="en-US"/>
              <a:t>Third level</a:t>
            </a:r>
          </a:p>
          <a:p>
            <a:pPr marL="141288" lvl="3" indent="-141288"/>
            <a:r>
              <a:rPr lang="en-US"/>
              <a:t>Fourth level</a:t>
            </a:r>
          </a:p>
          <a:p>
            <a:pPr marL="141288" lvl="4" indent="-141288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8963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/>
            </a:lvl1pPr>
            <a:lvl2pPr>
              <a:defRPr lang="en-US" sz="1400"/>
            </a:lvl2pPr>
            <a:lvl3pPr>
              <a:defRPr lang="en-US" sz="1400"/>
            </a:lvl3pPr>
            <a:lvl4pPr>
              <a:defRPr lang="en-US" sz="1200"/>
            </a:lvl4pPr>
            <a:lvl5pPr>
              <a:defRPr lang="en-US" sz="1200" dirty="0"/>
            </a:lvl5pPr>
          </a:lstStyle>
          <a:p>
            <a:pPr marL="141288" lvl="0" indent="-141288"/>
            <a:r>
              <a:rPr lang="en-US"/>
              <a:t>Click to edit Master text styles</a:t>
            </a:r>
          </a:p>
          <a:p>
            <a:pPr marL="141288" lvl="1" indent="-141288"/>
            <a:r>
              <a:rPr lang="en-US"/>
              <a:t>Second level</a:t>
            </a:r>
          </a:p>
          <a:p>
            <a:pPr marL="141288" lvl="2" indent="-141288"/>
            <a:r>
              <a:rPr lang="en-US"/>
              <a:t>Third level</a:t>
            </a:r>
          </a:p>
          <a:p>
            <a:pPr marL="141288" lvl="3" indent="-141288"/>
            <a:r>
              <a:rPr lang="en-US"/>
              <a:t>Fourth level</a:t>
            </a:r>
          </a:p>
          <a:p>
            <a:pPr marL="141288" lvl="4" indent="-141288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8963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600"/>
            </a:lvl1pPr>
            <a:lvl2pPr>
              <a:defRPr lang="en-US" sz="1400"/>
            </a:lvl2pPr>
            <a:lvl3pPr>
              <a:defRPr lang="en-US" sz="1400"/>
            </a:lvl3pPr>
            <a:lvl4pPr>
              <a:defRPr lang="en-US" sz="1200"/>
            </a:lvl4pPr>
            <a:lvl5pPr>
              <a:defRPr lang="en-US" sz="1200" dirty="0"/>
            </a:lvl5pPr>
          </a:lstStyle>
          <a:p>
            <a:pPr marL="141288" lvl="0" indent="-141288"/>
            <a:r>
              <a:rPr lang="en-US"/>
              <a:t>Click to edit Master text styles</a:t>
            </a:r>
          </a:p>
          <a:p>
            <a:pPr marL="141288" lvl="1" indent="-141288"/>
            <a:r>
              <a:rPr lang="en-US"/>
              <a:t>Second level</a:t>
            </a:r>
          </a:p>
          <a:p>
            <a:pPr marL="141288" lvl="2" indent="-141288"/>
            <a:r>
              <a:rPr lang="en-US"/>
              <a:t>Third level</a:t>
            </a:r>
          </a:p>
          <a:p>
            <a:pPr marL="141288" lvl="3" indent="-141288"/>
            <a:r>
              <a:rPr lang="en-US"/>
              <a:t>Fourth level</a:t>
            </a:r>
          </a:p>
          <a:p>
            <a:pPr marL="141288" lvl="4" indent="-141288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52194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BA32BDE-F4CA-AD1E-851F-F990CCD504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8599"/>
          <a:stretch/>
        </p:blipFill>
        <p:spPr>
          <a:xfrm>
            <a:off x="6762467" y="697581"/>
            <a:ext cx="4894751" cy="5125112"/>
          </a:xfrm>
          <a:prstGeom prst="rect">
            <a:avLst/>
          </a:prstGeom>
        </p:spPr>
      </p:pic>
      <p:sp>
        <p:nvSpPr>
          <p:cNvPr id="29" name="Title 2">
            <a:extLst>
              <a:ext uri="{FF2B5EF4-FFF2-40B4-BE49-F238E27FC236}">
                <a16:creationId xmlns:a16="http://schemas.microsoft.com/office/drawing/2014/main" id="{97D0A93D-FD93-F03F-B6DA-177798678672}"/>
              </a:ext>
            </a:extLst>
          </p:cNvPr>
          <p:cNvSpPr txBox="1">
            <a:spLocks/>
          </p:cNvSpPr>
          <p:nvPr userDrawn="1"/>
        </p:nvSpPr>
        <p:spPr>
          <a:xfrm>
            <a:off x="496200" y="-608400"/>
            <a:ext cx="11199600" cy="6084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b-NO" sz="3200" b="1" kern="1200" dirty="0">
                <a:solidFill>
                  <a:schemeClr val="tx1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1362A89-D5ED-3D8B-C209-774461513E9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751695" y="1616151"/>
            <a:ext cx="5821122" cy="818232"/>
          </a:xfrm>
        </p:spPr>
        <p:txBody>
          <a:bodyPr>
            <a:normAutofit/>
          </a:bodyPr>
          <a:lstStyle>
            <a:lvl1pPr marL="0" indent="0" algn="l">
              <a:buNone/>
              <a:defRPr sz="4000"/>
            </a:lvl1pPr>
          </a:lstStyle>
          <a:p>
            <a:pPr lvl="0"/>
            <a:r>
              <a:rPr lang="en-US"/>
              <a:t>Your title and place of work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66D3C3E-F87A-4778-9782-4D0F3820316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51695" y="2515923"/>
            <a:ext cx="5821122" cy="1141456"/>
          </a:xfrm>
        </p:spPr>
        <p:txBody>
          <a:bodyPr>
            <a:no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Fun facts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F8E553D-023A-D80E-5528-04BAD9BB72F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315359" y="3785712"/>
            <a:ext cx="5176043" cy="466298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5513DF4-8A62-226B-EEA9-14C530DD4D7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315358" y="4308485"/>
            <a:ext cx="5176043" cy="466299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LinkedI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19578EE-A517-B6CA-76AF-4EF5F7F69ED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315359" y="4837019"/>
            <a:ext cx="5176043" cy="466299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Twitter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E6834BD-8D29-C7AD-6BC4-1C8850F3468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321976" y="5356394"/>
            <a:ext cx="5176043" cy="466299"/>
          </a:xfrm>
        </p:spPr>
        <p:txBody>
          <a:bodyPr anchor="ctr"/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Website</a:t>
            </a:r>
          </a:p>
        </p:txBody>
      </p:sp>
      <p:grpSp>
        <p:nvGrpSpPr>
          <p:cNvPr id="34" name="Google Shape;12880;p136" descr="LinkedIn">
            <a:extLst>
              <a:ext uri="{FF2B5EF4-FFF2-40B4-BE49-F238E27FC236}">
                <a16:creationId xmlns:a16="http://schemas.microsoft.com/office/drawing/2014/main" id="{EC986E67-0AA8-1F05-147B-309B2541E45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751694" y="4299500"/>
            <a:ext cx="475809" cy="475284"/>
            <a:chOff x="3752358" y="3817349"/>
            <a:chExt cx="346056" cy="345674"/>
          </a:xfrm>
        </p:grpSpPr>
        <p:sp>
          <p:nvSpPr>
            <p:cNvPr id="35" name="Google Shape;12881;p136">
              <a:extLst>
                <a:ext uri="{FF2B5EF4-FFF2-40B4-BE49-F238E27FC236}">
                  <a16:creationId xmlns:a16="http://schemas.microsoft.com/office/drawing/2014/main" id="{29ED8B93-1F4B-E601-C9EB-DDB92375A565}"/>
                </a:ext>
              </a:extLst>
            </p:cNvPr>
            <p:cNvSpPr/>
            <p:nvPr/>
          </p:nvSpPr>
          <p:spPr>
            <a:xfrm>
              <a:off x="3752358" y="3817349"/>
              <a:ext cx="346056" cy="345674"/>
            </a:xfrm>
            <a:prstGeom prst="roundRect">
              <a:avLst/>
            </a:prstGeom>
            <a:noFill/>
            <a:ln w="12700">
              <a:solidFill>
                <a:srgbClr val="657E93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2882;p136">
              <a:extLst>
                <a:ext uri="{FF2B5EF4-FFF2-40B4-BE49-F238E27FC236}">
                  <a16:creationId xmlns:a16="http://schemas.microsoft.com/office/drawing/2014/main" id="{746D38FB-8267-141C-7F0A-6FCAEC817341}"/>
                </a:ext>
              </a:extLst>
            </p:cNvPr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2883;p136">
              <a:extLst>
                <a:ext uri="{FF2B5EF4-FFF2-40B4-BE49-F238E27FC236}">
                  <a16:creationId xmlns:a16="http://schemas.microsoft.com/office/drawing/2014/main" id="{00479730-7050-B3A6-7D84-BE01D7EC2840}"/>
                </a:ext>
              </a:extLst>
            </p:cNvPr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2884;p136">
              <a:extLst>
                <a:ext uri="{FF2B5EF4-FFF2-40B4-BE49-F238E27FC236}">
                  <a16:creationId xmlns:a16="http://schemas.microsoft.com/office/drawing/2014/main" id="{D4D70B89-C4A7-2A5A-6CC8-E0D54B395960}"/>
                </a:ext>
              </a:extLst>
            </p:cNvPr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9" name="Google Shape;12893;p136" descr="Twitter (X)">
            <a:extLst>
              <a:ext uri="{FF2B5EF4-FFF2-40B4-BE49-F238E27FC236}">
                <a16:creationId xmlns:a16="http://schemas.microsoft.com/office/drawing/2014/main" id="{77DA7B79-EE9A-0357-9380-D113F00DBBA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751695" y="4827990"/>
            <a:ext cx="475809" cy="475328"/>
            <a:chOff x="4201447" y="3817349"/>
            <a:chExt cx="346024" cy="345674"/>
          </a:xfrm>
        </p:grpSpPr>
        <p:sp>
          <p:nvSpPr>
            <p:cNvPr id="40" name="Google Shape;12894;p136">
              <a:extLst>
                <a:ext uri="{FF2B5EF4-FFF2-40B4-BE49-F238E27FC236}">
                  <a16:creationId xmlns:a16="http://schemas.microsoft.com/office/drawing/2014/main" id="{2585580A-35B7-3448-81EF-E80081D81D53}"/>
                </a:ext>
              </a:extLst>
            </p:cNvPr>
            <p:cNvSpPr/>
            <p:nvPr/>
          </p:nvSpPr>
          <p:spPr>
            <a:xfrm>
              <a:off x="4201447" y="3817349"/>
              <a:ext cx="346024" cy="345674"/>
            </a:xfrm>
            <a:prstGeom prst="roundRect">
              <a:avLst/>
            </a:prstGeom>
            <a:noFill/>
            <a:ln w="12700">
              <a:solidFill>
                <a:srgbClr val="657E93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12895;p136">
              <a:extLst>
                <a:ext uri="{FF2B5EF4-FFF2-40B4-BE49-F238E27FC236}">
                  <a16:creationId xmlns:a16="http://schemas.microsoft.com/office/drawing/2014/main" id="{BAEFE885-D3F1-9067-00B3-493E5C74B750}"/>
                </a:ext>
              </a:extLst>
            </p:cNvPr>
            <p:cNvSpPr/>
            <p:nvPr/>
          </p:nvSpPr>
          <p:spPr>
            <a:xfrm>
              <a:off x="4271569" y="3904531"/>
              <a:ext cx="227394" cy="185728"/>
            </a:xfrm>
            <a:custGeom>
              <a:avLst/>
              <a:gdLst/>
              <a:ahLst/>
              <a:cxnLst/>
              <a:rect l="l" t="t" r="r" b="b"/>
              <a:pathLst>
                <a:path w="7144" h="5835" extrusionOk="0">
                  <a:moveTo>
                    <a:pt x="4620" y="0"/>
                  </a:moveTo>
                  <a:cubicBezTo>
                    <a:pt x="3727" y="0"/>
                    <a:pt x="2977" y="691"/>
                    <a:pt x="2905" y="1572"/>
                  </a:cubicBezTo>
                  <a:cubicBezTo>
                    <a:pt x="2727" y="1548"/>
                    <a:pt x="2358" y="1441"/>
                    <a:pt x="2262" y="1405"/>
                  </a:cubicBezTo>
                  <a:cubicBezTo>
                    <a:pt x="1643" y="1203"/>
                    <a:pt x="1072" y="810"/>
                    <a:pt x="631" y="322"/>
                  </a:cubicBezTo>
                  <a:cubicBezTo>
                    <a:pt x="596" y="298"/>
                    <a:pt x="572" y="274"/>
                    <a:pt x="524" y="262"/>
                  </a:cubicBezTo>
                  <a:cubicBezTo>
                    <a:pt x="517" y="261"/>
                    <a:pt x="509" y="260"/>
                    <a:pt x="501" y="260"/>
                  </a:cubicBezTo>
                  <a:cubicBezTo>
                    <a:pt x="436" y="260"/>
                    <a:pt x="367" y="304"/>
                    <a:pt x="346" y="357"/>
                  </a:cubicBezTo>
                  <a:cubicBezTo>
                    <a:pt x="238" y="572"/>
                    <a:pt x="179" y="810"/>
                    <a:pt x="179" y="1048"/>
                  </a:cubicBezTo>
                  <a:cubicBezTo>
                    <a:pt x="179" y="1393"/>
                    <a:pt x="286" y="1727"/>
                    <a:pt x="476" y="1977"/>
                  </a:cubicBezTo>
                  <a:cubicBezTo>
                    <a:pt x="466" y="1975"/>
                    <a:pt x="456" y="1974"/>
                    <a:pt x="446" y="1974"/>
                  </a:cubicBezTo>
                  <a:cubicBezTo>
                    <a:pt x="397" y="1974"/>
                    <a:pt x="349" y="1997"/>
                    <a:pt x="310" y="2036"/>
                  </a:cubicBezTo>
                  <a:cubicBezTo>
                    <a:pt x="286" y="2060"/>
                    <a:pt x="286" y="2108"/>
                    <a:pt x="274" y="2143"/>
                  </a:cubicBezTo>
                  <a:lnTo>
                    <a:pt x="274" y="2203"/>
                  </a:lnTo>
                  <a:cubicBezTo>
                    <a:pt x="274" y="2655"/>
                    <a:pt x="476" y="3072"/>
                    <a:pt x="822" y="3358"/>
                  </a:cubicBezTo>
                  <a:cubicBezTo>
                    <a:pt x="786" y="3370"/>
                    <a:pt x="774" y="3405"/>
                    <a:pt x="762" y="3417"/>
                  </a:cubicBezTo>
                  <a:cubicBezTo>
                    <a:pt x="750" y="3465"/>
                    <a:pt x="727" y="3513"/>
                    <a:pt x="750" y="3548"/>
                  </a:cubicBezTo>
                  <a:cubicBezTo>
                    <a:pt x="893" y="4024"/>
                    <a:pt x="1262" y="4405"/>
                    <a:pt x="1727" y="4548"/>
                  </a:cubicBezTo>
                  <a:cubicBezTo>
                    <a:pt x="1310" y="4798"/>
                    <a:pt x="834" y="4941"/>
                    <a:pt x="334" y="4941"/>
                  </a:cubicBezTo>
                  <a:lnTo>
                    <a:pt x="191" y="4941"/>
                  </a:lnTo>
                  <a:cubicBezTo>
                    <a:pt x="107" y="4941"/>
                    <a:pt x="36" y="5001"/>
                    <a:pt x="12" y="5084"/>
                  </a:cubicBezTo>
                  <a:cubicBezTo>
                    <a:pt x="0" y="5156"/>
                    <a:pt x="48" y="5239"/>
                    <a:pt x="107" y="5263"/>
                  </a:cubicBezTo>
                  <a:cubicBezTo>
                    <a:pt x="727" y="5632"/>
                    <a:pt x="1465" y="5834"/>
                    <a:pt x="2191" y="5834"/>
                  </a:cubicBezTo>
                  <a:cubicBezTo>
                    <a:pt x="3072" y="5834"/>
                    <a:pt x="3905" y="5560"/>
                    <a:pt x="4596" y="5060"/>
                  </a:cubicBezTo>
                  <a:cubicBezTo>
                    <a:pt x="4691" y="5001"/>
                    <a:pt x="4691" y="4858"/>
                    <a:pt x="4620" y="4786"/>
                  </a:cubicBezTo>
                  <a:cubicBezTo>
                    <a:pt x="4587" y="4754"/>
                    <a:pt x="4544" y="4735"/>
                    <a:pt x="4499" y="4735"/>
                  </a:cubicBezTo>
                  <a:cubicBezTo>
                    <a:pt x="4463" y="4735"/>
                    <a:pt x="4426" y="4748"/>
                    <a:pt x="4394" y="4775"/>
                  </a:cubicBezTo>
                  <a:cubicBezTo>
                    <a:pt x="3763" y="5215"/>
                    <a:pt x="3013" y="5489"/>
                    <a:pt x="2191" y="5489"/>
                  </a:cubicBezTo>
                  <a:cubicBezTo>
                    <a:pt x="1727" y="5489"/>
                    <a:pt x="1262" y="5394"/>
                    <a:pt x="846" y="5239"/>
                  </a:cubicBezTo>
                  <a:cubicBezTo>
                    <a:pt x="1369" y="5144"/>
                    <a:pt x="1846" y="4917"/>
                    <a:pt x="2262" y="4584"/>
                  </a:cubicBezTo>
                  <a:cubicBezTo>
                    <a:pt x="2310" y="4536"/>
                    <a:pt x="2334" y="4477"/>
                    <a:pt x="2322" y="4417"/>
                  </a:cubicBezTo>
                  <a:cubicBezTo>
                    <a:pt x="2310" y="4346"/>
                    <a:pt x="2239" y="4286"/>
                    <a:pt x="2155" y="4286"/>
                  </a:cubicBezTo>
                  <a:cubicBezTo>
                    <a:pt x="1739" y="4263"/>
                    <a:pt x="1369" y="4048"/>
                    <a:pt x="1167" y="3691"/>
                  </a:cubicBezTo>
                  <a:cubicBezTo>
                    <a:pt x="1250" y="3691"/>
                    <a:pt x="1358" y="3667"/>
                    <a:pt x="1441" y="3643"/>
                  </a:cubicBezTo>
                  <a:cubicBezTo>
                    <a:pt x="1524" y="3632"/>
                    <a:pt x="1584" y="3572"/>
                    <a:pt x="1584" y="3489"/>
                  </a:cubicBezTo>
                  <a:cubicBezTo>
                    <a:pt x="1596" y="3405"/>
                    <a:pt x="1536" y="3334"/>
                    <a:pt x="1441" y="3298"/>
                  </a:cubicBezTo>
                  <a:cubicBezTo>
                    <a:pt x="1000" y="3191"/>
                    <a:pt x="667" y="2822"/>
                    <a:pt x="596" y="2381"/>
                  </a:cubicBezTo>
                  <a:lnTo>
                    <a:pt x="596" y="2381"/>
                  </a:lnTo>
                  <a:cubicBezTo>
                    <a:pt x="727" y="2405"/>
                    <a:pt x="869" y="2417"/>
                    <a:pt x="1000" y="2417"/>
                  </a:cubicBezTo>
                  <a:cubicBezTo>
                    <a:pt x="1084" y="2417"/>
                    <a:pt x="1143" y="2358"/>
                    <a:pt x="1167" y="2274"/>
                  </a:cubicBezTo>
                  <a:cubicBezTo>
                    <a:pt x="1179" y="2203"/>
                    <a:pt x="1131" y="2143"/>
                    <a:pt x="1072" y="2108"/>
                  </a:cubicBezTo>
                  <a:cubicBezTo>
                    <a:pt x="703" y="1881"/>
                    <a:pt x="476" y="1488"/>
                    <a:pt x="476" y="1048"/>
                  </a:cubicBezTo>
                  <a:cubicBezTo>
                    <a:pt x="476" y="953"/>
                    <a:pt x="488" y="846"/>
                    <a:pt x="524" y="738"/>
                  </a:cubicBezTo>
                  <a:cubicBezTo>
                    <a:pt x="965" y="1191"/>
                    <a:pt x="1524" y="1524"/>
                    <a:pt x="2120" y="1727"/>
                  </a:cubicBezTo>
                  <a:cubicBezTo>
                    <a:pt x="2120" y="1727"/>
                    <a:pt x="2715" y="1905"/>
                    <a:pt x="2929" y="1917"/>
                  </a:cubicBezTo>
                  <a:lnTo>
                    <a:pt x="3024" y="1917"/>
                  </a:lnTo>
                  <a:cubicBezTo>
                    <a:pt x="3096" y="1917"/>
                    <a:pt x="3167" y="1869"/>
                    <a:pt x="3191" y="1798"/>
                  </a:cubicBezTo>
                  <a:cubicBezTo>
                    <a:pt x="3203" y="1786"/>
                    <a:pt x="3203" y="1750"/>
                    <a:pt x="3203" y="1738"/>
                  </a:cubicBezTo>
                  <a:lnTo>
                    <a:pt x="3203" y="1703"/>
                  </a:lnTo>
                  <a:cubicBezTo>
                    <a:pt x="3203" y="953"/>
                    <a:pt x="3810" y="334"/>
                    <a:pt x="4572" y="334"/>
                  </a:cubicBezTo>
                  <a:cubicBezTo>
                    <a:pt x="4941" y="334"/>
                    <a:pt x="5287" y="488"/>
                    <a:pt x="5549" y="750"/>
                  </a:cubicBezTo>
                  <a:cubicBezTo>
                    <a:pt x="5585" y="787"/>
                    <a:pt x="5621" y="802"/>
                    <a:pt x="5663" y="802"/>
                  </a:cubicBezTo>
                  <a:cubicBezTo>
                    <a:pt x="5676" y="802"/>
                    <a:pt x="5689" y="801"/>
                    <a:pt x="5703" y="798"/>
                  </a:cubicBezTo>
                  <a:cubicBezTo>
                    <a:pt x="5882" y="762"/>
                    <a:pt x="6049" y="738"/>
                    <a:pt x="6203" y="679"/>
                  </a:cubicBezTo>
                  <a:lnTo>
                    <a:pt x="6203" y="679"/>
                  </a:lnTo>
                  <a:cubicBezTo>
                    <a:pt x="6120" y="762"/>
                    <a:pt x="6013" y="857"/>
                    <a:pt x="5894" y="917"/>
                  </a:cubicBezTo>
                  <a:cubicBezTo>
                    <a:pt x="5822" y="965"/>
                    <a:pt x="5787" y="1048"/>
                    <a:pt x="5822" y="1143"/>
                  </a:cubicBezTo>
                  <a:cubicBezTo>
                    <a:pt x="5846" y="1203"/>
                    <a:pt x="5930" y="1250"/>
                    <a:pt x="6001" y="1250"/>
                  </a:cubicBezTo>
                  <a:cubicBezTo>
                    <a:pt x="6144" y="1227"/>
                    <a:pt x="6287" y="1215"/>
                    <a:pt x="6418" y="1167"/>
                  </a:cubicBezTo>
                  <a:lnTo>
                    <a:pt x="6418" y="1167"/>
                  </a:lnTo>
                  <a:cubicBezTo>
                    <a:pt x="6299" y="1286"/>
                    <a:pt x="6168" y="1405"/>
                    <a:pt x="6013" y="1512"/>
                  </a:cubicBezTo>
                  <a:cubicBezTo>
                    <a:pt x="5965" y="1548"/>
                    <a:pt x="5941" y="1608"/>
                    <a:pt x="5941" y="1655"/>
                  </a:cubicBezTo>
                  <a:lnTo>
                    <a:pt x="5941" y="1679"/>
                  </a:lnTo>
                  <a:lnTo>
                    <a:pt x="5941" y="1703"/>
                  </a:lnTo>
                  <a:lnTo>
                    <a:pt x="5941" y="1727"/>
                  </a:lnTo>
                  <a:cubicBezTo>
                    <a:pt x="5941" y="2691"/>
                    <a:pt x="5572" y="3572"/>
                    <a:pt x="4977" y="4227"/>
                  </a:cubicBezTo>
                  <a:cubicBezTo>
                    <a:pt x="4918" y="4298"/>
                    <a:pt x="4918" y="4405"/>
                    <a:pt x="4977" y="4465"/>
                  </a:cubicBezTo>
                  <a:cubicBezTo>
                    <a:pt x="5011" y="4499"/>
                    <a:pt x="5053" y="4514"/>
                    <a:pt x="5096" y="4514"/>
                  </a:cubicBezTo>
                  <a:cubicBezTo>
                    <a:pt x="5143" y="4514"/>
                    <a:pt x="5190" y="4496"/>
                    <a:pt x="5227" y="4465"/>
                  </a:cubicBezTo>
                  <a:cubicBezTo>
                    <a:pt x="5894" y="3715"/>
                    <a:pt x="6263" y="2762"/>
                    <a:pt x="6287" y="1750"/>
                  </a:cubicBezTo>
                  <a:cubicBezTo>
                    <a:pt x="6596" y="1524"/>
                    <a:pt x="6846" y="1250"/>
                    <a:pt x="7061" y="917"/>
                  </a:cubicBezTo>
                  <a:cubicBezTo>
                    <a:pt x="7144" y="857"/>
                    <a:pt x="7132" y="750"/>
                    <a:pt x="7061" y="715"/>
                  </a:cubicBezTo>
                  <a:cubicBezTo>
                    <a:pt x="7029" y="683"/>
                    <a:pt x="6987" y="667"/>
                    <a:pt x="6937" y="667"/>
                  </a:cubicBezTo>
                  <a:cubicBezTo>
                    <a:pt x="6912" y="667"/>
                    <a:pt x="6886" y="671"/>
                    <a:pt x="6858" y="679"/>
                  </a:cubicBezTo>
                  <a:cubicBezTo>
                    <a:pt x="6775" y="726"/>
                    <a:pt x="6680" y="750"/>
                    <a:pt x="6596" y="786"/>
                  </a:cubicBezTo>
                  <a:cubicBezTo>
                    <a:pt x="6680" y="667"/>
                    <a:pt x="6763" y="512"/>
                    <a:pt x="6823" y="369"/>
                  </a:cubicBezTo>
                  <a:cubicBezTo>
                    <a:pt x="6834" y="310"/>
                    <a:pt x="6834" y="238"/>
                    <a:pt x="6787" y="191"/>
                  </a:cubicBezTo>
                  <a:cubicBezTo>
                    <a:pt x="6750" y="153"/>
                    <a:pt x="6703" y="135"/>
                    <a:pt x="6659" y="135"/>
                  </a:cubicBezTo>
                  <a:cubicBezTo>
                    <a:pt x="6632" y="135"/>
                    <a:pt x="6607" y="142"/>
                    <a:pt x="6584" y="155"/>
                  </a:cubicBezTo>
                  <a:cubicBezTo>
                    <a:pt x="6322" y="310"/>
                    <a:pt x="6061" y="393"/>
                    <a:pt x="5775" y="441"/>
                  </a:cubicBezTo>
                  <a:cubicBezTo>
                    <a:pt x="5465" y="143"/>
                    <a:pt x="5048" y="0"/>
                    <a:pt x="4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" name="Group 7" descr="Email">
            <a:extLst>
              <a:ext uri="{FF2B5EF4-FFF2-40B4-BE49-F238E27FC236}">
                <a16:creationId xmlns:a16="http://schemas.microsoft.com/office/drawing/2014/main" id="{960C88D2-5CCD-A08E-F197-0761124753B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751698" y="3776726"/>
            <a:ext cx="475809" cy="475284"/>
            <a:chOff x="960581" y="3861725"/>
            <a:chExt cx="346056" cy="345674"/>
          </a:xfrm>
        </p:grpSpPr>
        <p:sp>
          <p:nvSpPr>
            <p:cNvPr id="42" name="Google Shape;9906;p130">
              <a:extLst>
                <a:ext uri="{FF2B5EF4-FFF2-40B4-BE49-F238E27FC236}">
                  <a16:creationId xmlns:a16="http://schemas.microsoft.com/office/drawing/2014/main" id="{C083FBA8-0243-2499-6621-E1DBDE08BD62}"/>
                </a:ext>
              </a:extLst>
            </p:cNvPr>
            <p:cNvSpPr/>
            <p:nvPr userDrawn="1"/>
          </p:nvSpPr>
          <p:spPr>
            <a:xfrm>
              <a:off x="993592" y="3921029"/>
              <a:ext cx="264504" cy="260529"/>
            </a:xfrm>
            <a:custGeom>
              <a:avLst/>
              <a:gdLst/>
              <a:ahLst/>
              <a:cxnLst/>
              <a:rect l="l" t="t" r="r" b="b"/>
              <a:pathLst>
                <a:path w="36428" h="36273" extrusionOk="0">
                  <a:moveTo>
                    <a:pt x="31907" y="5435"/>
                  </a:moveTo>
                  <a:lnTo>
                    <a:pt x="20788" y="22612"/>
                  </a:lnTo>
                  <a:lnTo>
                    <a:pt x="18511" y="26131"/>
                  </a:lnTo>
                  <a:lnTo>
                    <a:pt x="8884" y="28458"/>
                  </a:lnTo>
                  <a:lnTo>
                    <a:pt x="31907" y="5435"/>
                  </a:lnTo>
                  <a:close/>
                  <a:moveTo>
                    <a:pt x="35713" y="94"/>
                  </a:moveTo>
                  <a:cubicBezTo>
                    <a:pt x="35665" y="94"/>
                    <a:pt x="35615" y="100"/>
                    <a:pt x="35565" y="112"/>
                  </a:cubicBezTo>
                  <a:lnTo>
                    <a:pt x="35564" y="112"/>
                  </a:lnTo>
                  <a:cubicBezTo>
                    <a:pt x="35555" y="114"/>
                    <a:pt x="36041" y="1"/>
                    <a:pt x="660" y="8270"/>
                  </a:cubicBezTo>
                  <a:cubicBezTo>
                    <a:pt x="169" y="8385"/>
                    <a:pt x="0" y="8998"/>
                    <a:pt x="362" y="9348"/>
                  </a:cubicBezTo>
                  <a:lnTo>
                    <a:pt x="1592" y="10537"/>
                  </a:lnTo>
                  <a:cubicBezTo>
                    <a:pt x="1716" y="10656"/>
                    <a:pt x="1875" y="10715"/>
                    <a:pt x="2034" y="10715"/>
                  </a:cubicBezTo>
                  <a:cubicBezTo>
                    <a:pt x="2201" y="10715"/>
                    <a:pt x="2368" y="10650"/>
                    <a:pt x="2493" y="10522"/>
                  </a:cubicBezTo>
                  <a:cubicBezTo>
                    <a:pt x="2737" y="10269"/>
                    <a:pt x="2730" y="9866"/>
                    <a:pt x="2477" y="9621"/>
                  </a:cubicBezTo>
                  <a:lnTo>
                    <a:pt x="2087" y="9244"/>
                  </a:lnTo>
                  <a:lnTo>
                    <a:pt x="32295" y="2184"/>
                  </a:lnTo>
                  <a:lnTo>
                    <a:pt x="32295" y="2184"/>
                  </a:lnTo>
                  <a:lnTo>
                    <a:pt x="9830" y="16725"/>
                  </a:lnTo>
                  <a:lnTo>
                    <a:pt x="4431" y="11509"/>
                  </a:lnTo>
                  <a:cubicBezTo>
                    <a:pt x="4307" y="11389"/>
                    <a:pt x="4148" y="11330"/>
                    <a:pt x="3988" y="11330"/>
                  </a:cubicBezTo>
                  <a:cubicBezTo>
                    <a:pt x="3821" y="11330"/>
                    <a:pt x="3655" y="11395"/>
                    <a:pt x="3530" y="11524"/>
                  </a:cubicBezTo>
                  <a:cubicBezTo>
                    <a:pt x="3286" y="11777"/>
                    <a:pt x="3293" y="12180"/>
                    <a:pt x="3546" y="12423"/>
                  </a:cubicBezTo>
                  <a:lnTo>
                    <a:pt x="9046" y="17739"/>
                  </a:lnTo>
                  <a:lnTo>
                    <a:pt x="7766" y="23038"/>
                  </a:lnTo>
                  <a:cubicBezTo>
                    <a:pt x="7683" y="23379"/>
                    <a:pt x="7894" y="23723"/>
                    <a:pt x="8235" y="23806"/>
                  </a:cubicBezTo>
                  <a:cubicBezTo>
                    <a:pt x="8286" y="23818"/>
                    <a:pt x="8336" y="23824"/>
                    <a:pt x="8385" y="23824"/>
                  </a:cubicBezTo>
                  <a:cubicBezTo>
                    <a:pt x="8673" y="23824"/>
                    <a:pt x="8933" y="23628"/>
                    <a:pt x="9004" y="23337"/>
                  </a:cubicBezTo>
                  <a:lnTo>
                    <a:pt x="10311" y="17931"/>
                  </a:lnTo>
                  <a:lnTo>
                    <a:pt x="13829" y="15653"/>
                  </a:lnTo>
                  <a:lnTo>
                    <a:pt x="31005" y="4534"/>
                  </a:lnTo>
                  <a:lnTo>
                    <a:pt x="7983" y="27557"/>
                  </a:lnTo>
                  <a:lnTo>
                    <a:pt x="8365" y="25976"/>
                  </a:lnTo>
                  <a:cubicBezTo>
                    <a:pt x="8448" y="25634"/>
                    <a:pt x="8238" y="25290"/>
                    <a:pt x="7896" y="25208"/>
                  </a:cubicBezTo>
                  <a:cubicBezTo>
                    <a:pt x="7846" y="25195"/>
                    <a:pt x="7795" y="25190"/>
                    <a:pt x="7746" y="25190"/>
                  </a:cubicBezTo>
                  <a:cubicBezTo>
                    <a:pt x="7458" y="25190"/>
                    <a:pt x="7199" y="25385"/>
                    <a:pt x="7128" y="25677"/>
                  </a:cubicBezTo>
                  <a:lnTo>
                    <a:pt x="6213" y="29459"/>
                  </a:lnTo>
                  <a:cubicBezTo>
                    <a:pt x="6114" y="29868"/>
                    <a:pt x="6434" y="30245"/>
                    <a:pt x="6831" y="30245"/>
                  </a:cubicBezTo>
                  <a:cubicBezTo>
                    <a:pt x="6880" y="30245"/>
                    <a:pt x="6931" y="30239"/>
                    <a:pt x="6981" y="30227"/>
                  </a:cubicBezTo>
                  <a:lnTo>
                    <a:pt x="18702" y="27394"/>
                  </a:lnTo>
                  <a:lnTo>
                    <a:pt x="27093" y="36078"/>
                  </a:lnTo>
                  <a:cubicBezTo>
                    <a:pt x="27222" y="36211"/>
                    <a:pt x="27386" y="36272"/>
                    <a:pt x="27548" y="36272"/>
                  </a:cubicBezTo>
                  <a:cubicBezTo>
                    <a:pt x="27827" y="36272"/>
                    <a:pt x="28099" y="36091"/>
                    <a:pt x="28171" y="35781"/>
                  </a:cubicBezTo>
                  <a:lnTo>
                    <a:pt x="33640" y="12387"/>
                  </a:lnTo>
                  <a:cubicBezTo>
                    <a:pt x="33719" y="12044"/>
                    <a:pt x="33506" y="11702"/>
                    <a:pt x="33164" y="11622"/>
                  </a:cubicBezTo>
                  <a:cubicBezTo>
                    <a:pt x="33115" y="11611"/>
                    <a:pt x="33067" y="11605"/>
                    <a:pt x="33018" y="11605"/>
                  </a:cubicBezTo>
                  <a:cubicBezTo>
                    <a:pt x="32729" y="11605"/>
                    <a:pt x="32467" y="11803"/>
                    <a:pt x="32399" y="12097"/>
                  </a:cubicBezTo>
                  <a:lnTo>
                    <a:pt x="27197" y="34353"/>
                  </a:lnTo>
                  <a:lnTo>
                    <a:pt x="19716" y="26610"/>
                  </a:lnTo>
                  <a:lnTo>
                    <a:pt x="34258" y="4147"/>
                  </a:lnTo>
                  <a:lnTo>
                    <a:pt x="33017" y="9453"/>
                  </a:lnTo>
                  <a:cubicBezTo>
                    <a:pt x="32938" y="9796"/>
                    <a:pt x="33150" y="10138"/>
                    <a:pt x="33492" y="10218"/>
                  </a:cubicBezTo>
                  <a:cubicBezTo>
                    <a:pt x="33541" y="10229"/>
                    <a:pt x="33590" y="10235"/>
                    <a:pt x="33638" y="10235"/>
                  </a:cubicBezTo>
                  <a:cubicBezTo>
                    <a:pt x="33927" y="10235"/>
                    <a:pt x="34189" y="10037"/>
                    <a:pt x="34256" y="9743"/>
                  </a:cubicBezTo>
                  <a:lnTo>
                    <a:pt x="36328" y="880"/>
                  </a:lnTo>
                  <a:cubicBezTo>
                    <a:pt x="36427" y="473"/>
                    <a:pt x="36107" y="94"/>
                    <a:pt x="35713" y="94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2881;p136">
              <a:extLst>
                <a:ext uri="{FF2B5EF4-FFF2-40B4-BE49-F238E27FC236}">
                  <a16:creationId xmlns:a16="http://schemas.microsoft.com/office/drawing/2014/main" id="{E28248F4-AAAB-E183-8980-578D691246C6}"/>
                </a:ext>
              </a:extLst>
            </p:cNvPr>
            <p:cNvSpPr/>
            <p:nvPr userDrawn="1"/>
          </p:nvSpPr>
          <p:spPr>
            <a:xfrm>
              <a:off x="960580" y="3861725"/>
              <a:ext cx="346056" cy="345674"/>
            </a:xfrm>
            <a:prstGeom prst="roundRect">
              <a:avLst/>
            </a:prstGeom>
            <a:noFill/>
            <a:ln w="12700">
              <a:solidFill>
                <a:srgbClr val="657E93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" name="Group 10" descr="Website">
            <a:extLst>
              <a:ext uri="{FF2B5EF4-FFF2-40B4-BE49-F238E27FC236}">
                <a16:creationId xmlns:a16="http://schemas.microsoft.com/office/drawing/2014/main" id="{11225CB4-3900-F689-6CF6-64458613CC5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766555" y="5351902"/>
            <a:ext cx="475809" cy="475284"/>
            <a:chOff x="971371" y="5370205"/>
            <a:chExt cx="346056" cy="345674"/>
          </a:xfrm>
        </p:grpSpPr>
        <p:sp>
          <p:nvSpPr>
            <p:cNvPr id="52" name="Google Shape;12881;p136">
              <a:extLst>
                <a:ext uri="{FF2B5EF4-FFF2-40B4-BE49-F238E27FC236}">
                  <a16:creationId xmlns:a16="http://schemas.microsoft.com/office/drawing/2014/main" id="{627480F1-1578-1E5B-71B6-3D2811B8A104}"/>
                </a:ext>
              </a:extLst>
            </p:cNvPr>
            <p:cNvSpPr/>
            <p:nvPr userDrawn="1"/>
          </p:nvSpPr>
          <p:spPr>
            <a:xfrm>
              <a:off x="971371" y="5370205"/>
              <a:ext cx="346056" cy="345674"/>
            </a:xfrm>
            <a:prstGeom prst="roundRect">
              <a:avLst/>
            </a:prstGeom>
            <a:noFill/>
            <a:ln w="12700">
              <a:solidFill>
                <a:srgbClr val="657E93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8C49B149-D139-C15C-6945-8055C34BFC43}"/>
                </a:ext>
              </a:extLst>
            </p:cNvPr>
            <p:cNvGrpSpPr/>
            <p:nvPr userDrawn="1"/>
          </p:nvGrpSpPr>
          <p:grpSpPr>
            <a:xfrm>
              <a:off x="1013063" y="5406252"/>
              <a:ext cx="262672" cy="260466"/>
              <a:chOff x="8637597" y="3486605"/>
              <a:chExt cx="262672" cy="260466"/>
            </a:xfrm>
          </p:grpSpPr>
          <p:sp>
            <p:nvSpPr>
              <p:cNvPr id="53" name="Google Shape;10913;p132">
                <a:extLst>
                  <a:ext uri="{FF2B5EF4-FFF2-40B4-BE49-F238E27FC236}">
                    <a16:creationId xmlns:a16="http://schemas.microsoft.com/office/drawing/2014/main" id="{02382B3D-96EC-DA62-2E2F-F7894F65C939}"/>
                  </a:ext>
                </a:extLst>
              </p:cNvPr>
              <p:cNvSpPr/>
              <p:nvPr userDrawn="1"/>
            </p:nvSpPr>
            <p:spPr>
              <a:xfrm>
                <a:off x="8639124" y="3486605"/>
                <a:ext cx="261145" cy="183072"/>
              </a:xfrm>
              <a:custGeom>
                <a:avLst/>
                <a:gdLst/>
                <a:ahLst/>
                <a:cxnLst/>
                <a:rect l="l" t="t" r="r" b="b"/>
                <a:pathLst>
                  <a:path w="8205" h="5752" extrusionOk="0">
                    <a:moveTo>
                      <a:pt x="2727" y="536"/>
                    </a:moveTo>
                    <a:cubicBezTo>
                      <a:pt x="2501" y="715"/>
                      <a:pt x="2311" y="953"/>
                      <a:pt x="2132" y="1227"/>
                    </a:cubicBezTo>
                    <a:cubicBezTo>
                      <a:pt x="2013" y="1417"/>
                      <a:pt x="1906" y="1608"/>
                      <a:pt x="1799" y="1822"/>
                    </a:cubicBezTo>
                    <a:lnTo>
                      <a:pt x="1013" y="1822"/>
                    </a:lnTo>
                    <a:cubicBezTo>
                      <a:pt x="1465" y="1239"/>
                      <a:pt x="2037" y="798"/>
                      <a:pt x="2727" y="536"/>
                    </a:cubicBezTo>
                    <a:close/>
                    <a:moveTo>
                      <a:pt x="3930" y="286"/>
                    </a:moveTo>
                    <a:lnTo>
                      <a:pt x="3930" y="1822"/>
                    </a:lnTo>
                    <a:lnTo>
                      <a:pt x="2120" y="1822"/>
                    </a:lnTo>
                    <a:cubicBezTo>
                      <a:pt x="2537" y="941"/>
                      <a:pt x="3192" y="358"/>
                      <a:pt x="3930" y="286"/>
                    </a:cubicBezTo>
                    <a:close/>
                    <a:moveTo>
                      <a:pt x="4216" y="286"/>
                    </a:moveTo>
                    <a:cubicBezTo>
                      <a:pt x="4954" y="346"/>
                      <a:pt x="5609" y="941"/>
                      <a:pt x="6025" y="1822"/>
                    </a:cubicBezTo>
                    <a:lnTo>
                      <a:pt x="4216" y="1822"/>
                    </a:lnTo>
                    <a:lnTo>
                      <a:pt x="4216" y="286"/>
                    </a:lnTo>
                    <a:close/>
                    <a:moveTo>
                      <a:pt x="5418" y="536"/>
                    </a:moveTo>
                    <a:cubicBezTo>
                      <a:pt x="6109" y="798"/>
                      <a:pt x="6704" y="1239"/>
                      <a:pt x="7133" y="1822"/>
                    </a:cubicBezTo>
                    <a:lnTo>
                      <a:pt x="6347" y="1822"/>
                    </a:lnTo>
                    <a:cubicBezTo>
                      <a:pt x="6252" y="1608"/>
                      <a:pt x="6133" y="1406"/>
                      <a:pt x="6014" y="1227"/>
                    </a:cubicBezTo>
                    <a:cubicBezTo>
                      <a:pt x="5835" y="953"/>
                      <a:pt x="5644" y="715"/>
                      <a:pt x="5418" y="536"/>
                    </a:cubicBezTo>
                    <a:close/>
                    <a:moveTo>
                      <a:pt x="1680" y="2108"/>
                    </a:moveTo>
                    <a:cubicBezTo>
                      <a:pt x="1489" y="2668"/>
                      <a:pt x="1370" y="3299"/>
                      <a:pt x="1358" y="3953"/>
                    </a:cubicBezTo>
                    <a:lnTo>
                      <a:pt x="275" y="3953"/>
                    </a:lnTo>
                    <a:cubicBezTo>
                      <a:pt x="299" y="3275"/>
                      <a:pt x="489" y="2656"/>
                      <a:pt x="822" y="2108"/>
                    </a:cubicBezTo>
                    <a:close/>
                    <a:moveTo>
                      <a:pt x="3930" y="2108"/>
                    </a:moveTo>
                    <a:lnTo>
                      <a:pt x="3930" y="3953"/>
                    </a:lnTo>
                    <a:lnTo>
                      <a:pt x="1644" y="3953"/>
                    </a:lnTo>
                    <a:cubicBezTo>
                      <a:pt x="1656" y="3275"/>
                      <a:pt x="1787" y="2656"/>
                      <a:pt x="2001" y="2108"/>
                    </a:cubicBezTo>
                    <a:close/>
                    <a:moveTo>
                      <a:pt x="6145" y="2108"/>
                    </a:moveTo>
                    <a:cubicBezTo>
                      <a:pt x="6359" y="2644"/>
                      <a:pt x="6490" y="3263"/>
                      <a:pt x="6502" y="3953"/>
                    </a:cubicBezTo>
                    <a:lnTo>
                      <a:pt x="4216" y="3953"/>
                    </a:lnTo>
                    <a:lnTo>
                      <a:pt x="4216" y="2108"/>
                    </a:lnTo>
                    <a:close/>
                    <a:moveTo>
                      <a:pt x="7311" y="2108"/>
                    </a:moveTo>
                    <a:cubicBezTo>
                      <a:pt x="7633" y="2644"/>
                      <a:pt x="7847" y="3263"/>
                      <a:pt x="7859" y="3953"/>
                    </a:cubicBezTo>
                    <a:lnTo>
                      <a:pt x="6787" y="3953"/>
                    </a:lnTo>
                    <a:cubicBezTo>
                      <a:pt x="6776" y="3299"/>
                      <a:pt x="6656" y="2668"/>
                      <a:pt x="6442" y="2108"/>
                    </a:cubicBezTo>
                    <a:close/>
                    <a:moveTo>
                      <a:pt x="4085" y="1"/>
                    </a:moveTo>
                    <a:cubicBezTo>
                      <a:pt x="2989" y="1"/>
                      <a:pt x="1965" y="429"/>
                      <a:pt x="1192" y="1191"/>
                    </a:cubicBezTo>
                    <a:cubicBezTo>
                      <a:pt x="418" y="1953"/>
                      <a:pt x="1" y="3001"/>
                      <a:pt x="1" y="4084"/>
                    </a:cubicBezTo>
                    <a:cubicBezTo>
                      <a:pt x="1" y="4632"/>
                      <a:pt x="108" y="5156"/>
                      <a:pt x="310" y="5656"/>
                    </a:cubicBezTo>
                    <a:cubicBezTo>
                      <a:pt x="337" y="5719"/>
                      <a:pt x="392" y="5748"/>
                      <a:pt x="443" y="5748"/>
                    </a:cubicBezTo>
                    <a:cubicBezTo>
                      <a:pt x="459" y="5748"/>
                      <a:pt x="475" y="5745"/>
                      <a:pt x="489" y="5739"/>
                    </a:cubicBezTo>
                    <a:cubicBezTo>
                      <a:pt x="560" y="5704"/>
                      <a:pt x="596" y="5620"/>
                      <a:pt x="560" y="5549"/>
                    </a:cubicBezTo>
                    <a:cubicBezTo>
                      <a:pt x="382" y="5144"/>
                      <a:pt x="299" y="4692"/>
                      <a:pt x="287" y="4227"/>
                    </a:cubicBezTo>
                    <a:lnTo>
                      <a:pt x="1370" y="4227"/>
                    </a:lnTo>
                    <a:lnTo>
                      <a:pt x="1370" y="4394"/>
                    </a:lnTo>
                    <a:cubicBezTo>
                      <a:pt x="1370" y="4465"/>
                      <a:pt x="1442" y="4525"/>
                      <a:pt x="1513" y="4525"/>
                    </a:cubicBezTo>
                    <a:cubicBezTo>
                      <a:pt x="1596" y="4525"/>
                      <a:pt x="1656" y="4454"/>
                      <a:pt x="1656" y="4382"/>
                    </a:cubicBezTo>
                    <a:lnTo>
                      <a:pt x="1656" y="4227"/>
                    </a:lnTo>
                    <a:lnTo>
                      <a:pt x="3942" y="4227"/>
                    </a:lnTo>
                    <a:lnTo>
                      <a:pt x="3942" y="4394"/>
                    </a:lnTo>
                    <a:cubicBezTo>
                      <a:pt x="3942" y="4465"/>
                      <a:pt x="4001" y="4549"/>
                      <a:pt x="4097" y="4549"/>
                    </a:cubicBezTo>
                    <a:cubicBezTo>
                      <a:pt x="4168" y="4549"/>
                      <a:pt x="4240" y="4489"/>
                      <a:pt x="4240" y="4394"/>
                    </a:cubicBezTo>
                    <a:lnTo>
                      <a:pt x="4240" y="4227"/>
                    </a:lnTo>
                    <a:lnTo>
                      <a:pt x="6537" y="4227"/>
                    </a:lnTo>
                    <a:lnTo>
                      <a:pt x="6537" y="4382"/>
                    </a:lnTo>
                    <a:cubicBezTo>
                      <a:pt x="6537" y="4454"/>
                      <a:pt x="6597" y="4525"/>
                      <a:pt x="6668" y="4525"/>
                    </a:cubicBezTo>
                    <a:cubicBezTo>
                      <a:pt x="6740" y="4525"/>
                      <a:pt x="6799" y="4465"/>
                      <a:pt x="6823" y="4394"/>
                    </a:cubicBezTo>
                    <a:lnTo>
                      <a:pt x="6823" y="4227"/>
                    </a:lnTo>
                    <a:lnTo>
                      <a:pt x="7907" y="4227"/>
                    </a:lnTo>
                    <a:cubicBezTo>
                      <a:pt x="7895" y="4692"/>
                      <a:pt x="7788" y="5120"/>
                      <a:pt x="7621" y="5549"/>
                    </a:cubicBezTo>
                    <a:cubicBezTo>
                      <a:pt x="7597" y="5632"/>
                      <a:pt x="7621" y="5704"/>
                      <a:pt x="7692" y="5739"/>
                    </a:cubicBezTo>
                    <a:cubicBezTo>
                      <a:pt x="7704" y="5751"/>
                      <a:pt x="7728" y="5751"/>
                      <a:pt x="7752" y="5751"/>
                    </a:cubicBezTo>
                    <a:cubicBezTo>
                      <a:pt x="7811" y="5751"/>
                      <a:pt x="7859" y="5716"/>
                      <a:pt x="7895" y="5656"/>
                    </a:cubicBezTo>
                    <a:cubicBezTo>
                      <a:pt x="8097" y="5168"/>
                      <a:pt x="8204" y="4632"/>
                      <a:pt x="8204" y="4084"/>
                    </a:cubicBezTo>
                    <a:cubicBezTo>
                      <a:pt x="8157" y="3001"/>
                      <a:pt x="7740" y="1965"/>
                      <a:pt x="6966" y="1191"/>
                    </a:cubicBezTo>
                    <a:cubicBezTo>
                      <a:pt x="6192" y="417"/>
                      <a:pt x="5168" y="1"/>
                      <a:pt x="408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Font typeface="Arial"/>
                  <a:buNone/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10913;p132">
                <a:extLst>
                  <a:ext uri="{FF2B5EF4-FFF2-40B4-BE49-F238E27FC236}">
                    <a16:creationId xmlns:a16="http://schemas.microsoft.com/office/drawing/2014/main" id="{B2E3ACEE-43D6-D622-6BB1-D0187869B736}"/>
                  </a:ext>
                </a:extLst>
              </p:cNvPr>
              <p:cNvSpPr/>
              <p:nvPr userDrawn="1"/>
            </p:nvSpPr>
            <p:spPr>
              <a:xfrm rot="10800000">
                <a:off x="8637597" y="3563999"/>
                <a:ext cx="261145" cy="183072"/>
              </a:xfrm>
              <a:custGeom>
                <a:avLst/>
                <a:gdLst/>
                <a:ahLst/>
                <a:cxnLst/>
                <a:rect l="l" t="t" r="r" b="b"/>
                <a:pathLst>
                  <a:path w="8205" h="5752" extrusionOk="0">
                    <a:moveTo>
                      <a:pt x="2727" y="536"/>
                    </a:moveTo>
                    <a:cubicBezTo>
                      <a:pt x="2501" y="715"/>
                      <a:pt x="2311" y="953"/>
                      <a:pt x="2132" y="1227"/>
                    </a:cubicBezTo>
                    <a:cubicBezTo>
                      <a:pt x="2013" y="1417"/>
                      <a:pt x="1906" y="1608"/>
                      <a:pt x="1799" y="1822"/>
                    </a:cubicBezTo>
                    <a:lnTo>
                      <a:pt x="1013" y="1822"/>
                    </a:lnTo>
                    <a:cubicBezTo>
                      <a:pt x="1465" y="1239"/>
                      <a:pt x="2037" y="798"/>
                      <a:pt x="2727" y="536"/>
                    </a:cubicBezTo>
                    <a:close/>
                    <a:moveTo>
                      <a:pt x="3930" y="286"/>
                    </a:moveTo>
                    <a:lnTo>
                      <a:pt x="3930" y="1822"/>
                    </a:lnTo>
                    <a:lnTo>
                      <a:pt x="2120" y="1822"/>
                    </a:lnTo>
                    <a:cubicBezTo>
                      <a:pt x="2537" y="941"/>
                      <a:pt x="3192" y="358"/>
                      <a:pt x="3930" y="286"/>
                    </a:cubicBezTo>
                    <a:close/>
                    <a:moveTo>
                      <a:pt x="4216" y="286"/>
                    </a:moveTo>
                    <a:cubicBezTo>
                      <a:pt x="4954" y="346"/>
                      <a:pt x="5609" y="941"/>
                      <a:pt x="6025" y="1822"/>
                    </a:cubicBezTo>
                    <a:lnTo>
                      <a:pt x="4216" y="1822"/>
                    </a:lnTo>
                    <a:lnTo>
                      <a:pt x="4216" y="286"/>
                    </a:lnTo>
                    <a:close/>
                    <a:moveTo>
                      <a:pt x="5418" y="536"/>
                    </a:moveTo>
                    <a:cubicBezTo>
                      <a:pt x="6109" y="798"/>
                      <a:pt x="6704" y="1239"/>
                      <a:pt x="7133" y="1822"/>
                    </a:cubicBezTo>
                    <a:lnTo>
                      <a:pt x="6347" y="1822"/>
                    </a:lnTo>
                    <a:cubicBezTo>
                      <a:pt x="6252" y="1608"/>
                      <a:pt x="6133" y="1406"/>
                      <a:pt x="6014" y="1227"/>
                    </a:cubicBezTo>
                    <a:cubicBezTo>
                      <a:pt x="5835" y="953"/>
                      <a:pt x="5644" y="715"/>
                      <a:pt x="5418" y="536"/>
                    </a:cubicBezTo>
                    <a:close/>
                    <a:moveTo>
                      <a:pt x="1680" y="2108"/>
                    </a:moveTo>
                    <a:cubicBezTo>
                      <a:pt x="1489" y="2668"/>
                      <a:pt x="1370" y="3299"/>
                      <a:pt x="1358" y="3953"/>
                    </a:cubicBezTo>
                    <a:lnTo>
                      <a:pt x="275" y="3953"/>
                    </a:lnTo>
                    <a:cubicBezTo>
                      <a:pt x="299" y="3275"/>
                      <a:pt x="489" y="2656"/>
                      <a:pt x="822" y="2108"/>
                    </a:cubicBezTo>
                    <a:close/>
                    <a:moveTo>
                      <a:pt x="3930" y="2108"/>
                    </a:moveTo>
                    <a:lnTo>
                      <a:pt x="3930" y="3953"/>
                    </a:lnTo>
                    <a:lnTo>
                      <a:pt x="1644" y="3953"/>
                    </a:lnTo>
                    <a:cubicBezTo>
                      <a:pt x="1656" y="3275"/>
                      <a:pt x="1787" y="2656"/>
                      <a:pt x="2001" y="2108"/>
                    </a:cubicBezTo>
                    <a:close/>
                    <a:moveTo>
                      <a:pt x="6145" y="2108"/>
                    </a:moveTo>
                    <a:cubicBezTo>
                      <a:pt x="6359" y="2644"/>
                      <a:pt x="6490" y="3263"/>
                      <a:pt x="6502" y="3953"/>
                    </a:cubicBezTo>
                    <a:lnTo>
                      <a:pt x="4216" y="3953"/>
                    </a:lnTo>
                    <a:lnTo>
                      <a:pt x="4216" y="2108"/>
                    </a:lnTo>
                    <a:close/>
                    <a:moveTo>
                      <a:pt x="7311" y="2108"/>
                    </a:moveTo>
                    <a:cubicBezTo>
                      <a:pt x="7633" y="2644"/>
                      <a:pt x="7847" y="3263"/>
                      <a:pt x="7859" y="3953"/>
                    </a:cubicBezTo>
                    <a:lnTo>
                      <a:pt x="6787" y="3953"/>
                    </a:lnTo>
                    <a:cubicBezTo>
                      <a:pt x="6776" y="3299"/>
                      <a:pt x="6656" y="2668"/>
                      <a:pt x="6442" y="2108"/>
                    </a:cubicBezTo>
                    <a:close/>
                    <a:moveTo>
                      <a:pt x="4085" y="1"/>
                    </a:moveTo>
                    <a:cubicBezTo>
                      <a:pt x="2989" y="1"/>
                      <a:pt x="1965" y="429"/>
                      <a:pt x="1192" y="1191"/>
                    </a:cubicBezTo>
                    <a:cubicBezTo>
                      <a:pt x="418" y="1953"/>
                      <a:pt x="1" y="3001"/>
                      <a:pt x="1" y="4084"/>
                    </a:cubicBezTo>
                    <a:cubicBezTo>
                      <a:pt x="1" y="4632"/>
                      <a:pt x="108" y="5156"/>
                      <a:pt x="310" y="5656"/>
                    </a:cubicBezTo>
                    <a:cubicBezTo>
                      <a:pt x="337" y="5719"/>
                      <a:pt x="392" y="5748"/>
                      <a:pt x="443" y="5748"/>
                    </a:cubicBezTo>
                    <a:cubicBezTo>
                      <a:pt x="459" y="5748"/>
                      <a:pt x="475" y="5745"/>
                      <a:pt x="489" y="5739"/>
                    </a:cubicBezTo>
                    <a:cubicBezTo>
                      <a:pt x="560" y="5704"/>
                      <a:pt x="596" y="5620"/>
                      <a:pt x="560" y="5549"/>
                    </a:cubicBezTo>
                    <a:cubicBezTo>
                      <a:pt x="382" y="5144"/>
                      <a:pt x="299" y="4692"/>
                      <a:pt x="287" y="4227"/>
                    </a:cubicBezTo>
                    <a:lnTo>
                      <a:pt x="1370" y="4227"/>
                    </a:lnTo>
                    <a:lnTo>
                      <a:pt x="1370" y="4394"/>
                    </a:lnTo>
                    <a:cubicBezTo>
                      <a:pt x="1370" y="4465"/>
                      <a:pt x="1442" y="4525"/>
                      <a:pt x="1513" y="4525"/>
                    </a:cubicBezTo>
                    <a:cubicBezTo>
                      <a:pt x="1596" y="4525"/>
                      <a:pt x="1656" y="4454"/>
                      <a:pt x="1656" y="4382"/>
                    </a:cubicBezTo>
                    <a:lnTo>
                      <a:pt x="1656" y="4227"/>
                    </a:lnTo>
                    <a:lnTo>
                      <a:pt x="3942" y="4227"/>
                    </a:lnTo>
                    <a:lnTo>
                      <a:pt x="3942" y="4394"/>
                    </a:lnTo>
                    <a:cubicBezTo>
                      <a:pt x="3942" y="4465"/>
                      <a:pt x="4001" y="4549"/>
                      <a:pt x="4097" y="4549"/>
                    </a:cubicBezTo>
                    <a:cubicBezTo>
                      <a:pt x="4168" y="4549"/>
                      <a:pt x="4240" y="4489"/>
                      <a:pt x="4240" y="4394"/>
                    </a:cubicBezTo>
                    <a:lnTo>
                      <a:pt x="4240" y="4227"/>
                    </a:lnTo>
                    <a:lnTo>
                      <a:pt x="6537" y="4227"/>
                    </a:lnTo>
                    <a:lnTo>
                      <a:pt x="6537" y="4382"/>
                    </a:lnTo>
                    <a:cubicBezTo>
                      <a:pt x="6537" y="4454"/>
                      <a:pt x="6597" y="4525"/>
                      <a:pt x="6668" y="4525"/>
                    </a:cubicBezTo>
                    <a:cubicBezTo>
                      <a:pt x="6740" y="4525"/>
                      <a:pt x="6799" y="4465"/>
                      <a:pt x="6823" y="4394"/>
                    </a:cubicBezTo>
                    <a:lnTo>
                      <a:pt x="6823" y="4227"/>
                    </a:lnTo>
                    <a:lnTo>
                      <a:pt x="7907" y="4227"/>
                    </a:lnTo>
                    <a:cubicBezTo>
                      <a:pt x="7895" y="4692"/>
                      <a:pt x="7788" y="5120"/>
                      <a:pt x="7621" y="5549"/>
                    </a:cubicBezTo>
                    <a:cubicBezTo>
                      <a:pt x="7597" y="5632"/>
                      <a:pt x="7621" y="5704"/>
                      <a:pt x="7692" y="5739"/>
                    </a:cubicBezTo>
                    <a:cubicBezTo>
                      <a:pt x="7704" y="5751"/>
                      <a:pt x="7728" y="5751"/>
                      <a:pt x="7752" y="5751"/>
                    </a:cubicBezTo>
                    <a:cubicBezTo>
                      <a:pt x="7811" y="5751"/>
                      <a:pt x="7859" y="5716"/>
                      <a:pt x="7895" y="5656"/>
                    </a:cubicBezTo>
                    <a:cubicBezTo>
                      <a:pt x="8097" y="5168"/>
                      <a:pt x="8204" y="4632"/>
                      <a:pt x="8204" y="4084"/>
                    </a:cubicBezTo>
                    <a:cubicBezTo>
                      <a:pt x="8157" y="3001"/>
                      <a:pt x="7740" y="1965"/>
                      <a:pt x="6966" y="1191"/>
                    </a:cubicBezTo>
                    <a:cubicBezTo>
                      <a:pt x="6192" y="417"/>
                      <a:pt x="5168" y="1"/>
                      <a:pt x="408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Font typeface="Arial"/>
                  <a:buNone/>
                </a:pPr>
                <a:endParaRPr sz="1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7" name="Picture Placeholder 2" descr="Speaker Bio Picture">
            <a:extLst>
              <a:ext uri="{FF2B5EF4-FFF2-40B4-BE49-F238E27FC236}">
                <a16:creationId xmlns:a16="http://schemas.microsoft.com/office/drawing/2014/main" id="{B42FA331-B035-13BF-2441-679A23D09D8F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 rot="20457976">
            <a:off x="7639888" y="1384449"/>
            <a:ext cx="3568792" cy="3349003"/>
          </a:xfrm>
          <a:prstGeom prst="pentagon">
            <a:avLst/>
          </a:prstGeom>
          <a:solidFill>
            <a:srgbClr val="DBDBDB">
              <a:alpha val="65098"/>
            </a:srgbClr>
          </a:solidFill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943B19BF-2ED9-BF36-9120-25B82E01F2A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42071" y="653549"/>
            <a:ext cx="5884863" cy="881062"/>
          </a:xfrm>
        </p:spPr>
        <p:txBody>
          <a:bodyPr anchor="ctr">
            <a:noAutofit/>
          </a:bodyPr>
          <a:lstStyle>
            <a:lvl1pPr marL="0" indent="0"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Your nam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2510A5A-334C-B68A-69FD-D389EF4BFC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494" y="-675994"/>
            <a:ext cx="11199600" cy="6084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 introduction</a:t>
            </a:r>
          </a:p>
        </p:txBody>
      </p:sp>
    </p:spTree>
    <p:extLst>
      <p:ext uri="{BB962C8B-B14F-4D97-AF65-F5344CB8AC3E}">
        <p14:creationId xmlns:p14="http://schemas.microsoft.com/office/powerpoint/2010/main" val="26922158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62270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Image and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5B3AEB-37BF-20CD-18AD-96D7E36804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922521" cy="553998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1D624DE-483D-FF6E-9BB1-90A937E423D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1" y="1435100"/>
            <a:ext cx="4922522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10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BB8E91B-810E-3A41-33C4-109248C65B2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9242" y="860423"/>
            <a:ext cx="5233221" cy="5137151"/>
          </a:xfrm>
          <a:blipFill dpi="0" rotWithShape="1">
            <a:blip r:embed="rId3"/>
            <a:srcRect/>
            <a:tile tx="0" ty="0" sx="76000" sy="76000" flip="none" algn="tl"/>
          </a:blipFill>
        </p:spPr>
        <p:txBody>
          <a:bodyPr>
            <a:noAutofit/>
          </a:bodyPr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756907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470">
          <p15:clr>
            <a:srgbClr val="FBAE40"/>
          </p15:clr>
        </p15:guide>
        <p15:guide id="3" orient="horz" pos="1272">
          <p15:clr>
            <a:srgbClr val="FBAE40"/>
          </p15:clr>
        </p15:guide>
        <p15:guide id="4" orient="horz" pos="90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Image and Tex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5B3AEB-37BF-20CD-18AD-96D7E36804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922521" cy="553998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1D624DE-483D-FF6E-9BB1-90A937E423D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1" y="1435100"/>
            <a:ext cx="4922522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10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BB8E91B-810E-3A41-33C4-109248C65B2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9242" y="860423"/>
            <a:ext cx="5233221" cy="5137151"/>
          </a:xfrm>
          <a:blipFill dpi="0" rotWithShape="1">
            <a:blip r:embed="rId3"/>
            <a:srcRect/>
            <a:tile tx="0" ty="0" sx="76000" sy="76000" flip="none" algn="tl"/>
          </a:blipFill>
        </p:spPr>
        <p:txBody>
          <a:bodyPr>
            <a:noAutofit/>
          </a:bodyPr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340120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470">
          <p15:clr>
            <a:srgbClr val="FBAE40"/>
          </p15:clr>
        </p15:guide>
        <p15:guide id="3" orient="horz" pos="1272">
          <p15:clr>
            <a:srgbClr val="FBAE40"/>
          </p15:clr>
        </p15:guide>
        <p15:guide id="4" orient="horz" pos="90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Image and Tex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5B3AEB-37BF-20CD-18AD-96D7E36804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922521" cy="553998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1D624DE-483D-FF6E-9BB1-90A937E423D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1" y="1435100"/>
            <a:ext cx="4922522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10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BB8E91B-810E-3A41-33C4-109248C65B2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9242" y="0"/>
            <a:ext cx="6092758" cy="6858000"/>
          </a:xfrm>
          <a:blipFill dpi="0" rotWithShape="1">
            <a:blip r:embed="rId2"/>
            <a:srcRect/>
            <a:tile tx="-355600" ty="0" sx="100000" sy="100000" flip="none" algn="tl"/>
          </a:blipFill>
        </p:spPr>
        <p:txBody>
          <a:bodyPr>
            <a:noAutofit/>
          </a:bodyPr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816370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470">
          <p15:clr>
            <a:srgbClr val="FBAE40"/>
          </p15:clr>
        </p15:guide>
        <p15:guide id="3" orient="horz" pos="1272">
          <p15:clr>
            <a:srgbClr val="FBAE40"/>
          </p15:clr>
        </p15:guide>
        <p15:guide id="4" orient="horz" pos="90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- Sho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2E69C-AACC-A937-7D9E-AEF1588D06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9243" y="2979778"/>
            <a:ext cx="7740145" cy="553998"/>
          </a:xfrm>
        </p:spPr>
        <p:txBody>
          <a:bodyPr anchor="b" anchorCtr="0"/>
          <a:lstStyle>
            <a:lvl1pPr marL="182880" indent="-182880">
              <a:defRPr/>
            </a:lvl1pPr>
          </a:lstStyle>
          <a:p>
            <a:r>
              <a:rPr lang="en-US"/>
              <a:t>“Insert quote here”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C0D5F63-F2B7-E03A-A9F2-6DC339C462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59238" y="3962400"/>
            <a:ext cx="7543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C8F21EA-8B63-FD39-60DD-D40E5BF49B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59238" y="4294188"/>
            <a:ext cx="7543800" cy="246221"/>
          </a:xfrm>
        </p:spPr>
        <p:txBody>
          <a:bodyPr/>
          <a:lstStyle>
            <a:lvl1pPr marL="0" indent="0"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Title, company, or o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23421160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255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- Lo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2E69C-AACC-A937-7D9E-AEF1588D06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9243" y="4088382"/>
            <a:ext cx="7740145" cy="553998"/>
          </a:xfrm>
        </p:spPr>
        <p:txBody>
          <a:bodyPr anchor="b" anchorCtr="0"/>
          <a:lstStyle>
            <a:lvl1pPr marL="182880" indent="-182880">
              <a:defRPr/>
            </a:lvl1pPr>
          </a:lstStyle>
          <a:p>
            <a:r>
              <a:rPr lang="en-US"/>
              <a:t>“Insert quote here”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C0D5F63-F2B7-E03A-A9F2-6DC339C462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59238" y="5071004"/>
            <a:ext cx="7543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C8F21EA-8B63-FD39-60DD-D40E5BF49B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59238" y="5402792"/>
            <a:ext cx="7543800" cy="246221"/>
          </a:xfrm>
        </p:spPr>
        <p:txBody>
          <a:bodyPr/>
          <a:lstStyle>
            <a:lvl1pPr marL="0" indent="0"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Title, company, or o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1266572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255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8577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11605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861774"/>
          </a:xfrm>
        </p:spPr>
        <p:txBody>
          <a:bodyPr/>
          <a:lstStyle>
            <a:lvl1pPr marL="0" indent="0">
              <a:buNone/>
              <a:defRPr sz="28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3383213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4159950" cy="5683249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09A47B-FEF5-47F3-B2DD-A73E7C323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4049873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5" orient="horz" pos="2160">
          <p15:clr>
            <a:srgbClr val="5ACBF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361240"/>
            <a:ext cx="3468956" cy="1291572"/>
          </a:xfrm>
        </p:spPr>
        <p:txBody>
          <a:bodyPr wrap="square" lIns="0" tIns="0" rIns="0" bIns="0" anchor="t">
            <a:spAutoFit/>
          </a:bodyPr>
          <a:lstStyle>
            <a:lvl1pPr algn="r">
              <a:lnSpc>
                <a:spcPct val="120000"/>
              </a:lnSpc>
              <a:defRPr lang="en-US" sz="3600" b="1" i="0">
                <a:solidFill>
                  <a:schemeClr val="accent2">
                    <a:lumMod val="50000"/>
                  </a:schemeClr>
                </a:solidFill>
                <a:latin typeface="+mj-lt"/>
                <a:cs typeface="Segoe UI Semibold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8DBB0A-21C9-483B-83DA-E59B5C3578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46104" y="2447038"/>
            <a:ext cx="7009200" cy="417871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lang="en-US" sz="2400" b="0" i="0">
                <a:latin typeface="+mj-lt"/>
                <a:cs typeface="Segoe UI Semilight" panose="020B0402040204020203" pitchFamily="34" charset="0"/>
              </a:defRPr>
            </a:lvl1pPr>
          </a:lstStyle>
          <a:p>
            <a:pPr marL="0" lvl="0" indent="0">
              <a:spcAft>
                <a:spcPts val="1200"/>
              </a:spcAft>
              <a:buNone/>
            </a:pPr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9FD800B-7DF4-487A-ADA4-F44FB0D5A3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457200" y="2017713"/>
            <a:ext cx="3477325" cy="0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17D0DD9-81B9-4F58-9346-51EE2B8F81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647600" y="2017713"/>
            <a:ext cx="7009200" cy="0"/>
          </a:xfrm>
          <a:prstGeom prst="line">
            <a:avLst/>
          </a:prstGeom>
          <a:ln w="12700">
            <a:solidFill>
              <a:schemeClr val="tx1">
                <a:lumMod val="8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69191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2" pos="2561">
          <p15:clr>
            <a:srgbClr val="5ACBF0"/>
          </p15:clr>
        </p15:guide>
        <p15:guide id="13" pos="2744">
          <p15:clr>
            <a:srgbClr val="5ACBF0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2" orient="horz" pos="1728">
          <p15:clr>
            <a:srgbClr val="FBAE40"/>
          </p15:clr>
        </p15:guide>
        <p15:guide id="33" pos="2928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738"/>
            <a:ext cx="4163125" cy="32893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EBEAA94-C151-43DE-8A5A-09E8A930427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2F1290-9237-4BEE-AAAC-6708F28626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5089149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full bleed low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/>
          </p:nvPr>
        </p:nvSpPr>
        <p:spPr bwMode="ltGray">
          <a:xfrm>
            <a:off x="0" y="3657600"/>
            <a:ext cx="12192000" cy="3200400"/>
          </a:xfrm>
          <a:gradFill flip="none" rotWithShape="1">
            <a:gsLst>
              <a:gs pos="4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</p:spPr>
        <p:txBody>
          <a:bodyPr lIns="585216" tIns="585216" rIns="585216" bIns="585216" anchor="b" anchorCtr="0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F619C2-B134-493A-AB9F-5DE39C929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4008005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full blee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3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894F6-B50F-43E1-83FC-4F2200B2F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6640095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3576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full bleed righ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522720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lIns="585216" tIns="585216" rIns="585216" bIns="585216" anchor="ctr">
            <a:noAutofit/>
          </a:bodyPr>
          <a:lstStyle>
            <a:lvl1pPr algn="r"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29011D-E3B4-416F-9D7F-7A99AE49F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5266486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4105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01E45-D858-46CB-8C37-2ADA7A8B4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157216"/>
            <a:ext cx="11018520" cy="111182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28016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996C37-D0C9-4349-A860-B639C4EB9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3472403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563AC-3A0B-4839-A9DC-F00E8E54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49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-2381" y="228600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37160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FDE6F-0F4B-446A-A51F-494FB0996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0864739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1440">
          <p15:clr>
            <a:srgbClr val="5ACBF0"/>
          </p15:clr>
        </p15:guide>
        <p15:guide id="6" orient="horz" pos="720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27DCA08-1117-4B11-AEFD-AAB2B3354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199" y="5689600"/>
            <a:ext cx="5367528" cy="30777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5367528" cy="347472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1860" y="5689600"/>
            <a:ext cx="5367528" cy="30777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39255" y="2025650"/>
            <a:ext cx="5367528" cy="3474720"/>
          </a:xfrm>
          <a:blipFill>
            <a:blip r:embed="rId3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F59E09-7602-42B9-AB0C-9D1365A9E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0653810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3749">
          <p15:clr>
            <a:srgbClr val="5ACBF0"/>
          </p15:clr>
        </p15:guide>
        <p15:guide id="7" pos="3931">
          <p15:clr>
            <a:srgbClr val="5ACBF0"/>
          </p15:clr>
        </p15:guide>
        <p15:guide id="8" orient="horz" pos="3464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5689600"/>
            <a:ext cx="3475037" cy="30777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3474720" cy="3474720"/>
          </a:xfrm>
          <a:blipFill>
            <a:blip r:embed="rId2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8640" y="5689600"/>
            <a:ext cx="3475037" cy="30777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358640" y="2025650"/>
            <a:ext cx="3474720" cy="3474720"/>
          </a:xfrm>
          <a:blipFill>
            <a:blip r:embed="rId3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4351" y="5689600"/>
            <a:ext cx="3475037" cy="30777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32063" y="2025650"/>
            <a:ext cx="3474720" cy="3474720"/>
          </a:xfrm>
          <a:blipFill>
            <a:blip r:embed="rId4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B36921-D927-4BA6-8891-8AEE97849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1633893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557">
          <p15:clr>
            <a:srgbClr val="5ACBF0"/>
          </p15:clr>
        </p15:guide>
        <p15:guide id="7" pos="2744">
          <p15:clr>
            <a:srgbClr val="5ACBF0"/>
          </p15:clr>
        </p15:guide>
        <p15:guide id="8" pos="4936">
          <p15:clr>
            <a:srgbClr val="5ACBF0"/>
          </p15:clr>
        </p15:guide>
        <p15:guide id="9" pos="5123">
          <p15:clr>
            <a:srgbClr val="5ACBF0"/>
          </p15:clr>
        </p15:guide>
        <p15:guide id="10" orient="horz" pos="3465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4753938"/>
            <a:ext cx="2532888" cy="615553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2532888" cy="253288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908" y="4753938"/>
            <a:ext cx="2532888" cy="615553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413908" y="2025650"/>
            <a:ext cx="2532888" cy="253288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5204" y="4753938"/>
            <a:ext cx="2532888" cy="615553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45204" y="2025650"/>
            <a:ext cx="2532888" cy="2532888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E883C1-8203-4549-AF30-B96AEC45AC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6500" y="4753938"/>
            <a:ext cx="2532888" cy="615553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BD58C33-921C-42F1-9803-1C798DB548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073895" y="2025650"/>
            <a:ext cx="2532888" cy="2532888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F56B00-AAD4-4F4F-8228-B6CF8367DE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394806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2993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2870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5334000"/>
            <a:ext cx="4892040" cy="30777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6062472" cy="280720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14744" y="5334000"/>
            <a:ext cx="4892040" cy="30777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29528" y="2286000"/>
            <a:ext cx="6062472" cy="280720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E10F07-B8D9-4B69-A567-8BEDE6973D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7362378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4" orient="horz" pos="3209">
          <p15:clr>
            <a:srgbClr val="5ACBF0"/>
          </p15:clr>
        </p15:guide>
        <p15:guide id="5" pos="3826">
          <p15:clr>
            <a:srgbClr val="5ACBF0"/>
          </p15:clr>
        </p15:guide>
        <p15:guide id="6" pos="3859">
          <p15:clr>
            <a:srgbClr val="5ACBF0"/>
          </p15:clr>
        </p15:guide>
        <p15:guide id="11" pos="1910">
          <p15:clr>
            <a:srgbClr val="5ACBF0"/>
          </p15:clr>
        </p15:guide>
        <p15:guide id="12" pos="5770">
          <p15:clr>
            <a:srgbClr val="5ACBF0"/>
          </p15:clr>
        </p15:guide>
        <p15:guide id="13" orient="horz" pos="3360">
          <p15:clr>
            <a:srgbClr val="5ACBF0"/>
          </p15:clr>
        </p15:guide>
        <p15:guide id="14" orient="horz">
          <p15:clr>
            <a:srgbClr val="5ACBF0"/>
          </p15:clr>
        </p15:guide>
        <p15:guide id="15" pos="3451">
          <p15:clr>
            <a:srgbClr val="5ACBF0"/>
          </p15:clr>
        </p15:guide>
        <p15:guide id="16" pos="4229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250831"/>
            <a:ext cx="3468956" cy="4972684"/>
          </a:xfrm>
        </p:spPr>
        <p:txBody>
          <a:bodyPr anchor="t"/>
          <a:lstStyle>
            <a:lvl1pPr>
              <a:lnSpc>
                <a:spcPct val="120000"/>
              </a:lnSpc>
              <a:defRPr sz="3600" b="1">
                <a:gradFill>
                  <a:gsLst>
                    <a:gs pos="15385">
                      <a:schemeClr val="tx1"/>
                    </a:gs>
                    <a:gs pos="3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8DBB0A-21C9-483B-83DA-E59B5C3578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48200" y="1369475"/>
            <a:ext cx="7008600" cy="4854039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defRPr sz="2400"/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9FD800B-7DF4-487A-ADA4-F44FB0D5A3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457200" y="1096339"/>
            <a:ext cx="3477325" cy="0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17D0DD9-81B9-4F58-9346-51EE2B8F81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648200" y="1081349"/>
            <a:ext cx="7009200" cy="0"/>
          </a:xfrm>
          <a:prstGeom prst="line">
            <a:avLst/>
          </a:prstGeom>
          <a:ln w="12700">
            <a:solidFill>
              <a:schemeClr val="tx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42208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2" pos="2561">
          <p15:clr>
            <a:srgbClr val="5ACBF0"/>
          </p15:clr>
        </p15:guide>
        <p15:guide id="13" pos="2744">
          <p15:clr>
            <a:srgbClr val="5ACBF0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2" orient="horz" pos="1728">
          <p15:clr>
            <a:srgbClr val="FBAE40"/>
          </p15:clr>
        </p15:guide>
        <p15:guide id="33" pos="2928">
          <p15:clr>
            <a:srgbClr val="5ACBF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2852928" cy="61555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4023360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9536" y="4799409"/>
            <a:ext cx="2852928" cy="61555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084320" y="2286000"/>
            <a:ext cx="4023360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53856" y="4799410"/>
            <a:ext cx="2852928" cy="61555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68640" y="2286000"/>
            <a:ext cx="4023360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999C7-F5A8-46A6-92C5-AA3BE4E26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5881024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2534">
          <p15:clr>
            <a:srgbClr val="5ACBF0"/>
          </p15:clr>
        </p15:guide>
        <p15:guide id="6" pos="2573">
          <p15:clr>
            <a:srgbClr val="5ACBF0"/>
          </p15:clr>
        </p15:guide>
        <p15:guide id="8" pos="5109">
          <p15:clr>
            <a:srgbClr val="5ACBF0"/>
          </p15:clr>
        </p15:guide>
        <p15:guide id="9" pos="5145">
          <p15:clr>
            <a:srgbClr val="5ACBF0"/>
          </p15:clr>
        </p15:guide>
        <p15:guide id="11" pos="1266">
          <p15:clr>
            <a:srgbClr val="5ACBF0"/>
          </p15:clr>
        </p15:guide>
        <p15:guide id="12" pos="3840">
          <p15:clr>
            <a:srgbClr val="5ACBF0"/>
          </p15:clr>
        </p15:guide>
        <p15:guide id="13" pos="6414">
          <p15:clr>
            <a:srgbClr val="5ACBF0"/>
          </p15:clr>
        </p15:guide>
        <p15:guide id="14" orient="horz" pos="1074">
          <p15:clr>
            <a:srgbClr val="5ACBF0"/>
          </p15:clr>
        </p15:guide>
        <p15:guide id="15" pos="2168">
          <p15:clr>
            <a:srgbClr val="5ACBF0"/>
          </p15:clr>
        </p15:guide>
        <p15:guide id="16" pos="2944">
          <p15:clr>
            <a:srgbClr val="5ACBF0"/>
          </p15:clr>
        </p15:guide>
        <p15:guide id="17" pos="4738">
          <p15:clr>
            <a:srgbClr val="5ACBF0"/>
          </p15:clr>
        </p15:guide>
        <p15:guide id="18" pos="5514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1828800" cy="92333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999232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49472" y="4799409"/>
            <a:ext cx="1828800" cy="92333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064256" y="2286000"/>
            <a:ext cx="2999232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728" y="4799410"/>
            <a:ext cx="1828800" cy="92333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128512" y="2286000"/>
            <a:ext cx="2999232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77984" y="4799409"/>
            <a:ext cx="1828800" cy="92333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192768" y="2286000"/>
            <a:ext cx="2999232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748932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1890">
          <p15:clr>
            <a:srgbClr val="5ACBF0"/>
          </p15:clr>
        </p15:guide>
        <p15:guide id="6" pos="1930">
          <p15:clr>
            <a:srgbClr val="5ACBF0"/>
          </p15:clr>
        </p15:guide>
        <p15:guide id="7" pos="5749">
          <p15:clr>
            <a:srgbClr val="5ACBF0"/>
          </p15:clr>
        </p15:guide>
        <p15:guide id="8" pos="3820">
          <p15:clr>
            <a:srgbClr val="5ACBF0"/>
          </p15:clr>
        </p15:guide>
        <p15:guide id="9" pos="3860">
          <p15:clr>
            <a:srgbClr val="5ACBF0"/>
          </p15:clr>
        </p15:guide>
        <p15:guide id="10" pos="5789">
          <p15:clr>
            <a:srgbClr val="5ACBF0"/>
          </p15:clr>
        </p15:guide>
        <p15:guide id="11" pos="944">
          <p15:clr>
            <a:srgbClr val="5ACBF0"/>
          </p15:clr>
        </p15:guide>
        <p15:guide id="12" pos="2876">
          <p15:clr>
            <a:srgbClr val="5ACBF0"/>
          </p15:clr>
        </p15:guide>
        <p15:guide id="13" pos="4807">
          <p15:clr>
            <a:srgbClr val="5ACBF0"/>
          </p15:clr>
        </p15:guide>
        <p15:guide id="14" pos="6736">
          <p15:clr>
            <a:srgbClr val="5ACBF0"/>
          </p15:clr>
        </p15:guide>
        <p15:guide id="15" orient="horz">
          <p15:clr>
            <a:srgbClr val="5ACBF0"/>
          </p15:clr>
        </p15:guide>
        <p15:guide id="16" pos="1524">
          <p15:clr>
            <a:srgbClr val="5ACBF0"/>
          </p15:clr>
        </p15:guide>
        <p15:guide id="17" pos="2298">
          <p15:clr>
            <a:srgbClr val="5ACBF0"/>
          </p15:clr>
        </p15:guide>
        <p15:guide id="18" pos="3450">
          <p15:clr>
            <a:srgbClr val="5ACBF0"/>
          </p15:clr>
        </p15:guide>
        <p15:guide id="19" pos="4230">
          <p15:clr>
            <a:srgbClr val="5ACBF0"/>
          </p15:clr>
        </p15:guide>
        <p15:guide id="20" pos="5380">
          <p15:clr>
            <a:srgbClr val="5ACBF0"/>
          </p15:clr>
        </p15:guide>
        <p15:guide id="21" pos="6156">
          <p15:clr>
            <a:srgbClr val="5ACBF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608" y="4800600"/>
            <a:ext cx="1801368" cy="92333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386584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43962" y="4799409"/>
            <a:ext cx="1801368" cy="92333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2451354" y="2286000"/>
            <a:ext cx="2386584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95316" y="4799410"/>
            <a:ext cx="1801368" cy="92333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902708" y="2286000"/>
            <a:ext cx="2386584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46670" y="4799409"/>
            <a:ext cx="1801368" cy="92333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7354062" y="2286000"/>
            <a:ext cx="2386584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B1B6F72-F14C-40F1-8B29-8620AA34DC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098024" y="4799409"/>
            <a:ext cx="1801368" cy="92333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AD682C7-20D7-4ED0-99A7-C8530DAC86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9805416" y="2286000"/>
            <a:ext cx="2386584" cy="2286000"/>
          </a:xfrm>
          <a:blipFill>
            <a:blip r:embed="rId6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0436466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8962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06" y="4800600"/>
            <a:ext cx="2313432" cy="61555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9284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284" y="4800600"/>
            <a:ext cx="2313432" cy="61555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40663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0663" y="4800600"/>
            <a:ext cx="2313432" cy="61555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6AFB7A-35B4-4881-AB50-D11248216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7511190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800600"/>
            <a:ext cx="2313432" cy="61555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3487250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87250" y="4800600"/>
            <a:ext cx="2313432" cy="61555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6390300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0300" y="4800600"/>
            <a:ext cx="2313432" cy="61555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9293351" y="2286000"/>
            <a:ext cx="2313432" cy="2313432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93351" y="4800600"/>
            <a:ext cx="2313432" cy="61555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1987264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4025">
          <p15:clr>
            <a:srgbClr val="5ACBF0"/>
          </p15:clr>
        </p15:guide>
        <p15:guide id="5" pos="5854">
          <p15:clr>
            <a:srgbClr val="5ACBF0"/>
          </p15:clr>
        </p15:guide>
        <p15:guide id="7" pos="3654">
          <p15:clr>
            <a:srgbClr val="5ACBF0"/>
          </p15:clr>
        </p15:guide>
        <p15:guide id="8" pos="2195">
          <p15:clr>
            <a:srgbClr val="5ACBF0"/>
          </p15:clr>
        </p15:guide>
        <p15:guide id="10" pos="2926">
          <p15:clr>
            <a:srgbClr val="5ACBF0"/>
          </p15:clr>
        </p15:guide>
        <p15:guide id="11" pos="4756">
          <p15:clr>
            <a:srgbClr val="5ACBF0"/>
          </p15:clr>
        </p15:guide>
        <p15:guide id="12" pos="6581">
          <p15:clr>
            <a:srgbClr val="5ACBF0"/>
          </p15:clr>
        </p15:guide>
        <p15:guide id="13" pos="1097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26">
          <p15:clr>
            <a:srgbClr val="5ACBF0"/>
          </p15:clr>
        </p15:guide>
        <p15:guide id="18" pos="5483">
          <p15:clr>
            <a:srgbClr val="5ACBF0"/>
          </p15:clr>
        </p15:guide>
        <p15:guide id="19" orient="horz" pos="2898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1737360" cy="1737360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235450"/>
            <a:ext cx="1737360" cy="92333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2905506" y="2286000"/>
            <a:ext cx="1737360" cy="1737360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05506" y="4235450"/>
            <a:ext cx="1737360" cy="92333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5227320" y="2286000"/>
            <a:ext cx="1737360" cy="1737360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27320" y="4235451"/>
            <a:ext cx="1737360" cy="92333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7548118" y="2286000"/>
            <a:ext cx="1737360" cy="1737360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44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48118" y="4235450"/>
            <a:ext cx="1737360" cy="92333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4DC3400-0B11-4EA0-9B8D-6FADE6964F37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ltGray">
          <a:xfrm>
            <a:off x="9869423" y="2286000"/>
            <a:ext cx="1737360" cy="1737360"/>
          </a:xfrm>
          <a:prstGeom prst="ellipse">
            <a:avLst/>
          </a:prstGeom>
          <a:blipFill>
            <a:blip r:embed="rId6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33C357E-ECC0-485F-9033-5D4DEC8774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69423" y="4235450"/>
            <a:ext cx="1737360" cy="92333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9396914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2664">
          <p15:clr>
            <a:srgbClr val="5ACBF0"/>
          </p15:clr>
        </p15:guide>
        <p15:guide id="3" pos="6216">
          <p15:clr>
            <a:srgbClr val="5ACBF0"/>
          </p15:clr>
        </p15:guide>
        <p15:guide id="5" pos="5850">
          <p15:clr>
            <a:srgbClr val="5ACBF0"/>
          </p15:clr>
        </p15:guide>
        <p15:guide id="7" pos="4392">
          <p15:clr>
            <a:srgbClr val="5ACBF0"/>
          </p15:clr>
        </p15:guide>
        <p15:guide id="8" pos="3292">
          <p15:clr>
            <a:srgbClr val="5ACBF0"/>
          </p15:clr>
        </p15:guide>
        <p15:guide id="10" pos="2926">
          <p15:clr>
            <a:srgbClr val="5ACBF0"/>
          </p15:clr>
        </p15:guide>
        <p15:guide id="11" pos="4754">
          <p15:clr>
            <a:srgbClr val="5ACBF0"/>
          </p15:clr>
        </p15:guide>
        <p15:guide id="13" pos="1464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30">
          <p15:clr>
            <a:srgbClr val="5ACBF0"/>
          </p15:clr>
        </p15:guide>
        <p15:guide id="16" orient="horz" pos="2533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58163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530930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 full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93776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585216" tIns="91440" rIns="0" bIns="91440" rtlCol="0">
            <a:spAutoFit/>
          </a:bodyPr>
          <a:lstStyle>
            <a:lvl1pPr marL="0" indent="0">
              <a:buNone/>
              <a:defRPr lang="en-US" sz="1999" dirty="0">
                <a:solidFill>
                  <a:srgbClr val="FFFFFF"/>
                </a:solidFill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1438" y="710247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1800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2" orient="horz" pos="438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636FE-845C-418D-82A1-1DA6DB73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0" y="1436688"/>
            <a:ext cx="12192000" cy="542131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668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099310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95147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32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9E3310-DD18-4656-B7CC-A8D86E16E6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C77593-523A-437E-869F-5FEA542822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877618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Bottom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230681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0" y="2827138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82713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3491219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2224698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1776">
          <p15:clr>
            <a:srgbClr val="5ACBF0"/>
          </p15:clr>
        </p15:guide>
        <p15:guide id="5" orient="horz" pos="2197">
          <p15:clr>
            <a:srgbClr val="5ACBF0"/>
          </p15:clr>
        </p15:guide>
        <p15:guide id="6" orient="horz" pos="773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Top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0" y="0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224580"/>
            <a:ext cx="11018520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660508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152" y="4996505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2882340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2661">
          <p15:clr>
            <a:srgbClr val="5ACBF0"/>
          </p15:clr>
        </p15:guide>
        <p15:guide id="5" orient="horz" pos="3147">
          <p15:clr>
            <a:srgbClr val="5ACBF0"/>
          </p15:clr>
        </p15:guide>
        <p15:guide id="6" orient="horz" pos="419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Right s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BB27-7DA5-4478-8C18-C1FFEE20A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040887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5" y="1338139"/>
            <a:ext cx="4040185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5205984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1763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0725" y="709187"/>
            <a:ext cx="5801961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6826253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45">
          <p15:clr>
            <a:srgbClr val="5ACBF0"/>
          </p15:clr>
        </p15:guide>
        <p15:guide id="4" orient="horz" pos="843">
          <p15:clr>
            <a:srgbClr val="5ACBF0"/>
          </p15:clr>
        </p15:guide>
        <p15:guide id="7" pos="3283">
          <p15:clr>
            <a:srgbClr val="5ACBF0"/>
          </p15:clr>
        </p15:guide>
        <p15:guide id="8" pos="3654">
          <p15:clr>
            <a:srgbClr val="5ACBF0"/>
          </p15:clr>
        </p15:guide>
        <p15:guide id="9" pos="2916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Left s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-2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B14A7D-C409-4A7C-9D82-A2E5DBB8A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5549" y="457200"/>
            <a:ext cx="4031233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199" y="706011"/>
            <a:ext cx="5819775" cy="369332"/>
          </a:xfrm>
        </p:spPr>
        <p:txBody>
          <a:bodyPr/>
          <a:lstStyle>
            <a:lvl1pPr marL="0" indent="0">
              <a:buNone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5550" y="1336675"/>
            <a:ext cx="4033838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565627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36">
          <p15:clr>
            <a:srgbClr val="5ACBF0"/>
          </p15:clr>
        </p15:guide>
        <p15:guide id="4" orient="horz" pos="839">
          <p15:clr>
            <a:srgbClr val="5ACBF0"/>
          </p15:clr>
        </p15:guide>
        <p15:guide id="6" pos="4402">
          <p15:clr>
            <a:srgbClr val="5ACBF0"/>
          </p15:clr>
        </p15:guide>
        <p15:guide id="7" pos="4034">
          <p15:clr>
            <a:srgbClr val="5ACBF0"/>
          </p15:clr>
        </p15:guide>
        <p15:guide id="8" pos="4772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78943B-C30D-8D9C-9277-70CC3E8609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200" y="4294188"/>
            <a:ext cx="9144000" cy="246221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Title, company, or o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21746846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78943B-C30D-8D9C-9277-70CC3E8609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200" y="4294188"/>
            <a:ext cx="9144000" cy="246221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Title, company, or o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7852596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4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960449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585493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ho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90750E-BC42-5134-DB1F-B879C090E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457200"/>
            <a:ext cx="415289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AAFA15-DECA-1ABE-1FCA-73BF5C96EB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963" y="2022475"/>
            <a:ext cx="4152900" cy="2043636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1ED663A6-1987-EA97-1302-32A77AF6701F}"/>
              </a:ext>
            </a:extLst>
          </p:cNvPr>
          <p:cNvSpPr>
            <a:spLocks noGrp="1" noChangeAspect="1"/>
          </p:cNvSpPr>
          <p:nvPr>
            <p:ph sz="quarter" idx="12" hasCustomPrompt="1"/>
          </p:nvPr>
        </p:nvSpPr>
        <p:spPr>
          <a:xfrm>
            <a:off x="5334000" y="1464400"/>
            <a:ext cx="6858000" cy="3855516"/>
          </a:xfrm>
          <a:prstGeom prst="roundRect">
            <a:avLst>
              <a:gd name="adj" fmla="val 2399"/>
            </a:avLst>
          </a:prstGeom>
          <a:blipFill>
            <a:blip r:embed="rId3"/>
            <a:stretch>
              <a:fillRect/>
            </a:stretch>
          </a:blipFill>
          <a:ln w="381000">
            <a:noFill/>
          </a:ln>
          <a:effectLst>
            <a:outerShdw blurRad="254000" dist="292100" dir="2700000" sx="101000" sy="101000" algn="ctr" rotWithShape="0">
              <a:srgbClr val="000000">
                <a:alpha val="15000"/>
              </a:srgbClr>
            </a:outerShdw>
          </a:effectLst>
        </p:spPr>
        <p:txBody>
          <a:bodyPr tIns="2377440">
            <a:noAutofit/>
          </a:bodyPr>
          <a:lstStyle>
            <a:lvl1pPr marL="0" indent="0">
              <a:defRPr lang="en-US" sz="1400" b="1" kern="1200" spc="0" baseline="0" dirty="0">
                <a:solidFill>
                  <a:srgbClr val="000000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228600" marR="0" lvl="0" indent="-22860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  <a:p>
            <a:pPr marL="228600" marR="0" lvl="0" indent="-22860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5942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2" pos="2987">
          <p15:clr>
            <a:srgbClr val="FBAE40"/>
          </p15:clr>
        </p15:guide>
        <p15:guide id="3" pos="3360">
          <p15:clr>
            <a:srgbClr val="FBAE40"/>
          </p15:clr>
        </p15:guide>
        <p15:guide id="4" orient="horz" pos="1274">
          <p15:clr>
            <a:srgbClr val="FBAE40"/>
          </p15:clr>
        </p15:guide>
        <p15:guide id="5" orient="horz" pos="90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Screensho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90750E-BC42-5134-DB1F-B879C090E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4907662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AAFA15-DECA-1ABE-1FCA-73BF5C96EB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963" y="2022475"/>
            <a:ext cx="4906962" cy="2043636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86AC449-72E2-2B91-EB1A-12EC0302CCC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713894" y="585216"/>
            <a:ext cx="2625967" cy="5687568"/>
          </a:xfrm>
          <a:prstGeom prst="roundRect">
            <a:avLst>
              <a:gd name="adj" fmla="val 8222"/>
            </a:avLst>
          </a:prstGeom>
          <a:blipFill>
            <a:blip r:embed="rId3"/>
            <a:stretch>
              <a:fillRect/>
            </a:stretch>
          </a:blipFill>
          <a:ln w="241300">
            <a:noFill/>
          </a:ln>
          <a:effectLst>
            <a:outerShdw blurRad="254000" dist="292100" dir="2700000" sx="101000" sy="101000" algn="ctr" rotWithShape="0">
              <a:srgbClr val="000000">
                <a:alpha val="15000"/>
              </a:srgbClr>
            </a:outerShdw>
          </a:effectLst>
        </p:spPr>
        <p:txBody>
          <a:bodyPr tIns="1463040" bIns="0" anchor="ctr" anchorCtr="0">
            <a:noAutofit/>
          </a:bodyPr>
          <a:lstStyle>
            <a:lvl1pPr marL="0" indent="0" algn="ctr">
              <a:buNone/>
              <a:defRPr lang="en-US" sz="1100" b="1" kern="1200" spc="0" baseline="0" dirty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285750" marR="0" lvl="0" indent="-28575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  <a:p>
            <a:pPr marL="285750" marR="0" lvl="0" indent="-28575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039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2" pos="3462">
          <p15:clr>
            <a:srgbClr val="FBAE40"/>
          </p15:clr>
        </p15:guide>
        <p15:guide id="3" pos="3840">
          <p15:clr>
            <a:srgbClr val="FBAE40"/>
          </p15:clr>
        </p15:guide>
        <p15:guide id="4" orient="horz" pos="1274">
          <p15:clr>
            <a:srgbClr val="FBAE40"/>
          </p15:clr>
        </p15:guide>
        <p15:guide id="5" orient="horz" pos="90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lIns="91440" tIns="45720" rIns="91440" bIns="45720" rtlCol="0" anchor="t">
            <a:noAutofit/>
          </a:bodyPr>
          <a:lstStyle>
            <a:lvl1pPr algn="l">
              <a:defRPr lang="en-US" dirty="0"/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5411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89197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4366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E99016BF-B189-F239-7F67-6078D6A110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invGray">
          <a:xfrm>
            <a:off x="584200" y="585788"/>
            <a:ext cx="3068320" cy="29260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6152A85-3014-88AF-6B3A-EB1F6B38BB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977824"/>
            <a:ext cx="9144000" cy="553998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1BD0FBB-20C9-49AE-7C4F-F96D00DB68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EBB7588-E340-3CA7-D747-B8DF257335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200" y="4294188"/>
            <a:ext cx="9144000" cy="246221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ontact information</a:t>
            </a:r>
          </a:p>
        </p:txBody>
      </p:sp>
      <p:sp>
        <p:nvSpPr>
          <p:cNvPr id="2" name="Text Box 3" descr="This is a copyright notice that should be included on the final slide.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7076967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 with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 descr="Microsoft Power Platform logo">
            <a:extLst>
              <a:ext uri="{FF2B5EF4-FFF2-40B4-BE49-F238E27FC236}">
                <a16:creationId xmlns:a16="http://schemas.microsoft.com/office/drawing/2014/main" id="{3620963B-FD3A-D87E-3E01-401FE57F6C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4894" y="597820"/>
            <a:ext cx="306832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5B3AEB-37BF-20CD-18AD-96D7E36804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977824"/>
            <a:ext cx="4922521" cy="5539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479277-B9FE-0D02-32D7-FB5ABF8D317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4200" y="3962400"/>
            <a:ext cx="4922838" cy="307777"/>
          </a:xfrm>
        </p:spPr>
        <p:txBody>
          <a:bodyPr/>
          <a:lstStyle>
            <a:lvl1pPr marL="0" indent="0">
              <a:buNone/>
              <a:defRPr sz="20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080FD5D-B262-058B-31CE-7167D38248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4200" y="4294188"/>
            <a:ext cx="4922838" cy="246221"/>
          </a:xfrm>
        </p:spPr>
        <p:txBody>
          <a:bodyPr/>
          <a:lstStyle>
            <a:lvl1pPr marL="0" indent="0"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BB8E91B-810E-3A41-33C4-109248C65B2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9242" y="0"/>
            <a:ext cx="6092758" cy="6858000"/>
          </a:xfrm>
          <a:blipFill dpi="0" rotWithShape="1">
            <a:blip r:embed="rId4"/>
            <a:srcRect/>
            <a:tile tx="-355600" ty="0" sx="100000" sy="100000" flip="none" algn="tl"/>
          </a:blipFill>
        </p:spPr>
        <p:txBody>
          <a:bodyPr>
            <a:noAutofit/>
          </a:bodyPr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Box 3" descr="This is a copyright notice that should be included on the final slide.">
            <a:extLst>
              <a:ext uri="{FF2B5EF4-FFF2-40B4-BE49-F238E27FC236}">
                <a16:creationId xmlns:a16="http://schemas.microsoft.com/office/drawing/2014/main" id="{2A09DC57-D84A-ACB4-6D6C-04E6334E940F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0352942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470">
          <p15:clr>
            <a:srgbClr val="FBAE40"/>
          </p15:clr>
        </p15:guide>
        <p15:guide id="3" orient="horz" pos="1272">
          <p15:clr>
            <a:srgbClr val="FBAE40"/>
          </p15:clr>
        </p15:guide>
        <p15:guide id="4" orient="horz" pos="902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3864689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itle">
            <a:extLst>
              <a:ext uri="{FF2B5EF4-FFF2-40B4-BE49-F238E27FC236}">
                <a16:creationId xmlns:a16="http://schemas.microsoft.com/office/drawing/2014/main" id="{BA75DCF9-2114-4543-8491-DC0390D87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638" y="320040"/>
            <a:ext cx="10880725" cy="461665"/>
          </a:xfrm>
          <a:solidFill>
            <a:schemeClr val="bg1"/>
          </a:solidFill>
        </p:spPr>
        <p:txBody>
          <a:bodyPr/>
          <a:lstStyle>
            <a:lvl1pPr>
              <a:defRPr b="0" i="0">
                <a:latin typeface="Segoe UI Light" panose="020B0502040204020203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3 Content Placeholder">
            <a:extLst>
              <a:ext uri="{FF2B5EF4-FFF2-40B4-BE49-F238E27FC236}">
                <a16:creationId xmlns:a16="http://schemas.microsoft.com/office/drawing/2014/main" id="{67FFA91E-2F74-4D40-9DCA-2240811B59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5638" y="1408114"/>
            <a:ext cx="10880726" cy="4819650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Segoe UI Light" panose="020B0502040204020203" pitchFamily="34" charset="0"/>
              </a:defRPr>
            </a:lvl1pPr>
            <a:lvl2pPr>
              <a:defRPr b="0" i="0">
                <a:latin typeface="Segoe UI Light" panose="020B0502040204020203" pitchFamily="34" charset="0"/>
              </a:defRPr>
            </a:lvl2pPr>
            <a:lvl3pPr>
              <a:defRPr b="0" i="0">
                <a:latin typeface="Segoe UI Light" panose="020B0502040204020203" pitchFamily="34" charset="0"/>
              </a:defRPr>
            </a:lvl3pPr>
            <a:lvl4pPr>
              <a:defRPr b="0" i="0">
                <a:latin typeface="Segoe UI Light" panose="020B0502040204020203" pitchFamily="34" charset="0"/>
              </a:defRPr>
            </a:lvl4pPr>
            <a:lvl5pPr>
              <a:defRPr b="0" i="0">
                <a:latin typeface="Segoe UI Light" panose="020B0502040204020203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6498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547EBF"/>
          </p15:clr>
        </p15:guide>
        <p15:guide id="2" orient="horz" pos="3923">
          <p15:clr>
            <a:srgbClr val="547EBF"/>
          </p15:clr>
        </p15:guide>
        <p15:guide id="3" orient="horz" pos="789">
          <p15:clr>
            <a:srgbClr val="547EBF"/>
          </p15:clr>
        </p15:guide>
        <p15:guide id="4" orient="horz" pos="202">
          <p15:clr>
            <a:srgbClr val="547EBF"/>
          </p15:clr>
        </p15:guide>
        <p15:guide id="5" orient="horz" pos="495">
          <p15:clr>
            <a:srgbClr val="547EBF"/>
          </p15:clr>
        </p15:guide>
        <p15:guide id="6" pos="384">
          <p15:clr>
            <a:srgbClr val="547EBF"/>
          </p15:clr>
        </p15:guide>
        <p15:guide id="7" pos="7267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lIns="9144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7066967-B1BF-BC8F-207B-6EAD3B7AFD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1522800"/>
            <a:ext cx="11199599" cy="465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BE3CB4C4-A5D2-A53E-0955-3A5FB68E93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347" y="1065600"/>
            <a:ext cx="11199303" cy="42501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95768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9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45.xml"/><Relationship Id="rId34" Type="http://schemas.openxmlformats.org/officeDocument/2006/relationships/slideLayout" Target="../slideLayouts/slideLayout58.xml"/><Relationship Id="rId42" Type="http://schemas.openxmlformats.org/officeDocument/2006/relationships/slideLayout" Target="../slideLayouts/slideLayout66.xml"/><Relationship Id="rId47" Type="http://schemas.openxmlformats.org/officeDocument/2006/relationships/slideLayout" Target="../slideLayouts/slideLayout71.xml"/><Relationship Id="rId50" Type="http://schemas.openxmlformats.org/officeDocument/2006/relationships/slideLayout" Target="../slideLayouts/slideLayout74.xml"/><Relationship Id="rId55" Type="http://schemas.openxmlformats.org/officeDocument/2006/relationships/slideLayout" Target="../slideLayouts/slideLayout79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slideLayout" Target="../slideLayouts/slideLayout56.xml"/><Relationship Id="rId37" Type="http://schemas.openxmlformats.org/officeDocument/2006/relationships/slideLayout" Target="../slideLayouts/slideLayout61.xml"/><Relationship Id="rId40" Type="http://schemas.openxmlformats.org/officeDocument/2006/relationships/slideLayout" Target="../slideLayouts/slideLayout64.xml"/><Relationship Id="rId45" Type="http://schemas.openxmlformats.org/officeDocument/2006/relationships/slideLayout" Target="../slideLayouts/slideLayout69.xml"/><Relationship Id="rId53" Type="http://schemas.openxmlformats.org/officeDocument/2006/relationships/slideLayout" Target="../slideLayouts/slideLayout77.xml"/><Relationship Id="rId58" Type="http://schemas.openxmlformats.org/officeDocument/2006/relationships/slideLayout" Target="../slideLayouts/slideLayout82.xml"/><Relationship Id="rId5" Type="http://schemas.openxmlformats.org/officeDocument/2006/relationships/slideLayout" Target="../slideLayouts/slideLayout29.xml"/><Relationship Id="rId61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slideLayout" Target="../slideLayouts/slideLayout54.xml"/><Relationship Id="rId35" Type="http://schemas.openxmlformats.org/officeDocument/2006/relationships/slideLayout" Target="../slideLayouts/slideLayout59.xml"/><Relationship Id="rId43" Type="http://schemas.openxmlformats.org/officeDocument/2006/relationships/slideLayout" Target="../slideLayouts/slideLayout67.xml"/><Relationship Id="rId48" Type="http://schemas.openxmlformats.org/officeDocument/2006/relationships/slideLayout" Target="../slideLayouts/slideLayout72.xml"/><Relationship Id="rId56" Type="http://schemas.openxmlformats.org/officeDocument/2006/relationships/slideLayout" Target="../slideLayouts/slideLayout80.xml"/><Relationship Id="rId8" Type="http://schemas.openxmlformats.org/officeDocument/2006/relationships/slideLayout" Target="../slideLayouts/slideLayout32.xml"/><Relationship Id="rId51" Type="http://schemas.openxmlformats.org/officeDocument/2006/relationships/slideLayout" Target="../slideLayouts/slideLayout75.xml"/><Relationship Id="rId3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slideLayout" Target="../slideLayouts/slideLayout57.xml"/><Relationship Id="rId38" Type="http://schemas.openxmlformats.org/officeDocument/2006/relationships/slideLayout" Target="../slideLayouts/slideLayout62.xml"/><Relationship Id="rId46" Type="http://schemas.openxmlformats.org/officeDocument/2006/relationships/slideLayout" Target="../slideLayouts/slideLayout70.xml"/><Relationship Id="rId59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44.xml"/><Relationship Id="rId41" Type="http://schemas.openxmlformats.org/officeDocument/2006/relationships/slideLayout" Target="../slideLayouts/slideLayout65.xml"/><Relationship Id="rId54" Type="http://schemas.openxmlformats.org/officeDocument/2006/relationships/slideLayout" Target="../slideLayouts/slideLayout78.xml"/><Relationship Id="rId62" Type="http://schemas.openxmlformats.org/officeDocument/2006/relationships/theme" Target="../theme/theme2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52.xml"/><Relationship Id="rId36" Type="http://schemas.openxmlformats.org/officeDocument/2006/relationships/slideLayout" Target="../slideLayouts/slideLayout60.xml"/><Relationship Id="rId49" Type="http://schemas.openxmlformats.org/officeDocument/2006/relationships/slideLayout" Target="../slideLayouts/slideLayout73.xml"/><Relationship Id="rId57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55.xml"/><Relationship Id="rId44" Type="http://schemas.openxmlformats.org/officeDocument/2006/relationships/slideLayout" Target="../slideLayouts/slideLayout68.xml"/><Relationship Id="rId52" Type="http://schemas.openxmlformats.org/officeDocument/2006/relationships/slideLayout" Target="../slideLayouts/slideLayout76.xml"/><Relationship Id="rId6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DE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BAB0B97-7DFA-4D72-8FA7-59FF0F1A9558}"/>
              </a:ext>
            </a:extLst>
          </p:cNvPr>
          <p:cNvSpPr/>
          <p:nvPr userDrawn="1"/>
        </p:nvSpPr>
        <p:spPr>
          <a:xfrm>
            <a:off x="1" y="6311901"/>
            <a:ext cx="12192000" cy="546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7DEE769-EA57-BDF6-11CC-79A448A535EC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0" y="0"/>
            <a:ext cx="12192000" cy="63119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9C26DC-3097-4ECD-B920-93627CEFC3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199600" cy="6084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B2948B-30F0-4CD6-968F-056E933781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189329"/>
            <a:ext cx="11199600" cy="50341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2F50540C-B132-4D0E-A7B2-F000F2969122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465" y="6435630"/>
            <a:ext cx="1484223" cy="30842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481D628-6222-2215-1F92-CFB375E82AD4}"/>
              </a:ext>
            </a:extLst>
          </p:cNvPr>
          <p:cNvSpPr txBox="1"/>
          <p:nvPr userDrawn="1"/>
        </p:nvSpPr>
        <p:spPr>
          <a:xfrm>
            <a:off x="4918710" y="6400285"/>
            <a:ext cx="23545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www.nordicsummit.info</a:t>
            </a:r>
            <a:endParaRPr lang="sv-S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1AB8D3-5DF2-B9B8-5274-949AAE75B649}"/>
              </a:ext>
            </a:extLst>
          </p:cNvPr>
          <p:cNvSpPr txBox="1"/>
          <p:nvPr userDrawn="1"/>
        </p:nvSpPr>
        <p:spPr>
          <a:xfrm>
            <a:off x="9626955" y="6400285"/>
            <a:ext cx="23545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/>
              <a:t>#NordicSummit</a:t>
            </a:r>
            <a:endParaRPr lang="sv-S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FB7443C-27D3-AC61-D148-001B1D21BA0C}"/>
              </a:ext>
            </a:extLst>
          </p:cNvPr>
          <p:cNvSpPr/>
          <p:nvPr userDrawn="1"/>
        </p:nvSpPr>
        <p:spPr>
          <a:xfrm>
            <a:off x="-618553" y="811418"/>
            <a:ext cx="520521" cy="342019"/>
          </a:xfrm>
          <a:prstGeom prst="rect">
            <a:avLst/>
          </a:prstGeom>
          <a:solidFill>
            <a:srgbClr val="6ECA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31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ACA161-4BFE-1C3E-38EB-1A28D98BDAA6}"/>
              </a:ext>
            </a:extLst>
          </p:cNvPr>
          <p:cNvSpPr/>
          <p:nvPr userDrawn="1"/>
        </p:nvSpPr>
        <p:spPr>
          <a:xfrm>
            <a:off x="-618553" y="407573"/>
            <a:ext cx="520521" cy="342019"/>
          </a:xfrm>
          <a:prstGeom prst="rect">
            <a:avLst/>
          </a:prstGeom>
          <a:solidFill>
            <a:srgbClr val="51BF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31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43F7B53-005C-A0C8-5A09-6CB09716E743}"/>
              </a:ext>
            </a:extLst>
          </p:cNvPr>
          <p:cNvSpPr/>
          <p:nvPr userDrawn="1"/>
        </p:nvSpPr>
        <p:spPr>
          <a:xfrm>
            <a:off x="-609015" y="1595225"/>
            <a:ext cx="520521" cy="342019"/>
          </a:xfrm>
          <a:prstGeom prst="rect">
            <a:avLst/>
          </a:prstGeom>
          <a:solidFill>
            <a:srgbClr val="D8DE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31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4A9825-1D6C-C0F5-91A1-2E3BB6BE093A}"/>
              </a:ext>
            </a:extLst>
          </p:cNvPr>
          <p:cNvSpPr/>
          <p:nvPr userDrawn="1"/>
        </p:nvSpPr>
        <p:spPr>
          <a:xfrm>
            <a:off x="-618553" y="1215263"/>
            <a:ext cx="520521" cy="342019"/>
          </a:xfrm>
          <a:prstGeom prst="rect">
            <a:avLst/>
          </a:prstGeom>
          <a:solidFill>
            <a:srgbClr val="4C5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31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8C6E98D-2343-2DC5-F8E4-F2B25BB89DE6}"/>
              </a:ext>
            </a:extLst>
          </p:cNvPr>
          <p:cNvSpPr/>
          <p:nvPr userDrawn="1"/>
        </p:nvSpPr>
        <p:spPr>
          <a:xfrm>
            <a:off x="-618552" y="1970495"/>
            <a:ext cx="520521" cy="3420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31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C375A2-F76A-ACE3-457C-616622B23C91}"/>
              </a:ext>
            </a:extLst>
          </p:cNvPr>
          <p:cNvSpPr/>
          <p:nvPr userDrawn="1"/>
        </p:nvSpPr>
        <p:spPr>
          <a:xfrm>
            <a:off x="-624110" y="0"/>
            <a:ext cx="520521" cy="34201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31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2052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53" r:id="rId2"/>
    <p:sldLayoutId id="2147483731" r:id="rId3"/>
    <p:sldLayoutId id="2147483751" r:id="rId4"/>
    <p:sldLayoutId id="2147483732" r:id="rId5"/>
    <p:sldLayoutId id="2147483733" r:id="rId6"/>
    <p:sldLayoutId id="2147483699" r:id="rId7"/>
    <p:sldLayoutId id="2147483734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54" r:id="rId14"/>
    <p:sldLayoutId id="2147483755" r:id="rId15"/>
    <p:sldLayoutId id="2147483757" r:id="rId16"/>
    <p:sldLayoutId id="2147483746" r:id="rId17"/>
    <p:sldLayoutId id="2147483750" r:id="rId18"/>
    <p:sldLayoutId id="2147483749" r:id="rId19"/>
    <p:sldLayoutId id="2147483747" r:id="rId20"/>
    <p:sldLayoutId id="2147483697" r:id="rId21"/>
    <p:sldLayoutId id="2147483752" r:id="rId22"/>
    <p:sldLayoutId id="2147483758" r:id="rId23"/>
    <p:sldLayoutId id="2147483760" r:id="rId24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120000"/>
        </a:lnSpc>
        <a:spcBef>
          <a:spcPct val="0"/>
        </a:spcBef>
        <a:buNone/>
        <a:defRPr lang="nb-NO" sz="3200" b="1" kern="1200" dirty="0">
          <a:solidFill>
            <a:schemeClr val="tx1"/>
          </a:solidFill>
          <a:latin typeface="+mj-lt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606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  <p:sldLayoutId id="2147483781" r:id="rId20"/>
    <p:sldLayoutId id="2147483782" r:id="rId21"/>
    <p:sldLayoutId id="2147483783" r:id="rId22"/>
    <p:sldLayoutId id="2147483784" r:id="rId23"/>
    <p:sldLayoutId id="2147483785" r:id="rId24"/>
    <p:sldLayoutId id="2147483786" r:id="rId25"/>
    <p:sldLayoutId id="2147483787" r:id="rId26"/>
    <p:sldLayoutId id="2147483788" r:id="rId27"/>
    <p:sldLayoutId id="2147483789" r:id="rId28"/>
    <p:sldLayoutId id="2147483790" r:id="rId29"/>
    <p:sldLayoutId id="2147483791" r:id="rId30"/>
    <p:sldLayoutId id="2147483792" r:id="rId31"/>
    <p:sldLayoutId id="2147483793" r:id="rId32"/>
    <p:sldLayoutId id="2147483794" r:id="rId33"/>
    <p:sldLayoutId id="2147483795" r:id="rId34"/>
    <p:sldLayoutId id="2147483796" r:id="rId35"/>
    <p:sldLayoutId id="2147483797" r:id="rId36"/>
    <p:sldLayoutId id="2147483798" r:id="rId37"/>
    <p:sldLayoutId id="2147483799" r:id="rId38"/>
    <p:sldLayoutId id="2147483800" r:id="rId39"/>
    <p:sldLayoutId id="2147483801" r:id="rId40"/>
    <p:sldLayoutId id="2147483802" r:id="rId41"/>
    <p:sldLayoutId id="2147483803" r:id="rId42"/>
    <p:sldLayoutId id="2147483804" r:id="rId43"/>
    <p:sldLayoutId id="2147483805" r:id="rId44"/>
    <p:sldLayoutId id="2147483806" r:id="rId45"/>
    <p:sldLayoutId id="2147483807" r:id="rId46"/>
    <p:sldLayoutId id="2147483808" r:id="rId47"/>
    <p:sldLayoutId id="2147483809" r:id="rId48"/>
    <p:sldLayoutId id="2147483810" r:id="rId49"/>
    <p:sldLayoutId id="2147483811" r:id="rId50"/>
    <p:sldLayoutId id="2147483812" r:id="rId51"/>
    <p:sldLayoutId id="2147483813" r:id="rId52"/>
    <p:sldLayoutId id="2147483814" r:id="rId53"/>
    <p:sldLayoutId id="2147483815" r:id="rId54"/>
    <p:sldLayoutId id="2147483816" r:id="rId55"/>
    <p:sldLayoutId id="2147483817" r:id="rId56"/>
    <p:sldLayoutId id="2147483818" r:id="rId57"/>
    <p:sldLayoutId id="2147483819" r:id="rId58"/>
    <p:sldLayoutId id="2147483820" r:id="rId59"/>
    <p:sldLayoutId id="2147483821" r:id="rId60"/>
    <p:sldLayoutId id="2147483822" r:id="rId61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notesSlide" Target="../notesSlides/notesSlide2.xml"/><Relationship Id="rId7" Type="http://schemas.openxmlformats.org/officeDocument/2006/relationships/diagramColors" Target="../diagrams/colors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tenor.com/search/cat-typing-gifs" TargetMode="External"/><Relationship Id="rId2" Type="http://schemas.openxmlformats.org/officeDocument/2006/relationships/image" Target="../media/image109.gif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7.gif"/><Relationship Id="rId5" Type="http://schemas.openxmlformats.org/officeDocument/2006/relationships/image" Target="../media/image76.png"/><Relationship Id="rId4" Type="http://schemas.openxmlformats.org/officeDocument/2006/relationships/image" Target="../media/image75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svg"/><Relationship Id="rId13" Type="http://schemas.openxmlformats.org/officeDocument/2006/relationships/image" Target="../media/image78.png"/><Relationship Id="rId3" Type="http://schemas.openxmlformats.org/officeDocument/2006/relationships/image" Target="../media/image74.png"/><Relationship Id="rId7" Type="http://schemas.openxmlformats.org/officeDocument/2006/relationships/image" Target="../media/image79.png"/><Relationship Id="rId12" Type="http://schemas.openxmlformats.org/officeDocument/2006/relationships/image" Target="../media/image84.sv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7.gif"/><Relationship Id="rId11" Type="http://schemas.openxmlformats.org/officeDocument/2006/relationships/image" Target="../media/image83.png"/><Relationship Id="rId5" Type="http://schemas.openxmlformats.org/officeDocument/2006/relationships/image" Target="../media/image76.png"/><Relationship Id="rId10" Type="http://schemas.openxmlformats.org/officeDocument/2006/relationships/image" Target="../media/image82.svg"/><Relationship Id="rId4" Type="http://schemas.openxmlformats.org/officeDocument/2006/relationships/image" Target="../media/image75.svg"/><Relationship Id="rId9" Type="http://schemas.openxmlformats.org/officeDocument/2006/relationships/image" Target="../media/image81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1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CDFAFEF-F33B-31E8-36E8-B997321F2FC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96888" y="5514975"/>
            <a:ext cx="11477625" cy="118903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b 02 – </a:t>
            </a:r>
            <a:r>
              <a:rPr kumimoji="0" lang="de-DE" sz="4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uilding a Custom Connector </a:t>
            </a:r>
            <a:r>
              <a:rPr kumimoji="0" lang="de-DE" sz="40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om</a:t>
            </a:r>
            <a:r>
              <a:rPr kumimoji="0" lang="de-DE" sz="4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Scratch 💪</a:t>
            </a: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06794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square" anchor="t">
            <a:normAutofit fontScale="90000"/>
          </a:bodyPr>
          <a:lstStyle/>
          <a:p>
            <a:r>
              <a:rPr lang="en-US" b="1" noProof="1"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Ways to create a new custom connector</a:t>
            </a:r>
          </a:p>
        </p:txBody>
      </p:sp>
      <p:graphicFrame>
        <p:nvGraphicFramePr>
          <p:cNvPr id="27" name="Content Placeholder 1">
            <a:extLst>
              <a:ext uri="{FF2B5EF4-FFF2-40B4-BE49-F238E27FC236}">
                <a16:creationId xmlns:a16="http://schemas.microsoft.com/office/drawing/2014/main" id="{22FC70E7-3951-456E-9504-4C9CD36FF99D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1550397243"/>
              </p:ext>
            </p:extLst>
          </p:nvPr>
        </p:nvGraphicFramePr>
        <p:xfrm>
          <a:off x="655637" y="1170721"/>
          <a:ext cx="10880725" cy="48196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98F8F5A3-15A1-F0EB-9180-15A7CD7804DD}"/>
              </a:ext>
            </a:extLst>
          </p:cNvPr>
          <p:cNvSpPr txBox="1"/>
          <p:nvPr/>
        </p:nvSpPr>
        <p:spPr>
          <a:xfrm>
            <a:off x="5205046" y="1292469"/>
            <a:ext cx="1222131" cy="501162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lstStyle/>
          <a:p>
            <a:pPr algn="l"/>
            <a:r>
              <a:rPr lang="de-DE" sz="2800" b="1">
                <a:solidFill>
                  <a:srgbClr val="FF0000"/>
                </a:solidFill>
              </a:rPr>
              <a:t>Lab 02!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16993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0F544F2F-7B63-4213-B3D8-8A72732819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>
                                            <p:graphicEl>
                                              <a:dgm id="{0F544F2F-7B63-4213-B3D8-8A727328193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AB20D592-C47D-480E-9FCE-0B6AA553978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>
                                            <p:graphicEl>
                                              <a:dgm id="{AB20D592-C47D-480E-9FCE-0B6AA553978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B892899B-6826-4880-BD30-CE5A016393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7">
                                            <p:graphicEl>
                                              <a:dgm id="{B892899B-6826-4880-BD30-CE5A016393F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78F5EC67-82DB-3A47-BE47-F2ADC99F3A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7">
                                            <p:graphicEl>
                                              <a:dgm id="{78F5EC67-82DB-3A47-BE47-F2ADC99F3A0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4CDB3BC9-94A8-1942-A0D7-A6C018FBD8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7">
                                            <p:graphicEl>
                                              <a:dgm id="{4CDB3BC9-94A8-1942-A0D7-A6C018FBD8C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79082CCF-919A-1445-A443-34F82F2607F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7">
                                            <p:graphicEl>
                                              <a:dgm id="{79082CCF-919A-1445-A443-34F82F2607F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B4969633-86E4-AB41-BEEF-CAF2378C4FF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>
                                            <p:graphicEl>
                                              <a:dgm id="{B4969633-86E4-AB41-BEEF-CAF2378C4FF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BAA21375-639A-3F41-8793-387ACBF9EA6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7">
                                            <p:graphicEl>
                                              <a:dgm id="{BAA21375-639A-3F41-8793-387ACBF9EA6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1464BE0B-40F6-8D46-B696-2F043B63C4F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7">
                                            <p:graphicEl>
                                              <a:dgm id="{1464BE0B-40F6-8D46-B696-2F043B63C4F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66DDA7D1-85F3-464F-A13A-715D7A05735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7">
                                            <p:graphicEl>
                                              <a:dgm id="{66DDA7D1-85F3-464F-A13A-715D7A05735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9BEC0F33-85C8-F249-8219-2A26EF3935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7">
                                            <p:graphicEl>
                                              <a:dgm id="{9BEC0F33-85C8-F249-8219-2A26EF3935D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E439FD84-2DF6-2B48-9EC9-760552FA8F7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7">
                                            <p:graphicEl>
                                              <a:dgm id="{E439FD84-2DF6-2B48-9EC9-760552FA8F7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0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DEBA26BF-3BEB-0B4C-9FF0-E194176C0F7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7">
                                            <p:graphicEl>
                                              <a:dgm id="{DEBA26BF-3BEB-0B4C-9FF0-E194176C0F7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A7BA3752-C53F-CC4D-9971-45D05F271C6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7">
                                            <p:graphicEl>
                                              <a:dgm id="{A7BA3752-C53F-CC4D-9971-45D05F271C6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D3EE60BA-FF61-404F-A1E3-0F4CED78D28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7">
                                            <p:graphicEl>
                                              <a:dgm id="{D3EE60BA-FF61-404F-A1E3-0F4CED78D28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5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A4D0A183-46B9-9346-94F0-9738B492911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7">
                                            <p:graphicEl>
                                              <a:dgm id="{A4D0A183-46B9-9346-94F0-9738B492911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88313EBB-02AE-F348-BDDE-07C72027FDD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7">
                                            <p:graphicEl>
                                              <a:dgm id="{88313EBB-02AE-F348-BDDE-07C72027FDD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7878AE0B-B1AD-ED4F-84ED-6CA895FE53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7">
                                            <p:graphicEl>
                                              <a:dgm id="{7878AE0B-B1AD-ED4F-84ED-6CA895FE53E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7" grpId="0" uiExpand="1">
        <p:bldSub>
          <a:bldDgm bld="one"/>
        </p:bldSub>
      </p:bldGraphic>
      <p:bldP spid="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F6AD70-0900-E3F5-D64F-1E1C10D8D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he </a:t>
            </a:r>
            <a:r>
              <a:rPr lang="de-DE" err="1"/>
              <a:t>process</a:t>
            </a:r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DB8CEE4-F761-F45D-816D-E9C047CE23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649" y="2447187"/>
            <a:ext cx="10810374" cy="126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2425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7DD63A-1E54-70BD-4E37-739F7EEC9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ase Setup - URL</a:t>
            </a:r>
          </a:p>
        </p:txBody>
      </p:sp>
      <p:pic>
        <p:nvPicPr>
          <p:cNvPr id="4" name="Grafik 3" descr="Ein Bild, das Text, Screenshot, Software, Zahl enthält.&#10;&#10;Automatisch generierte Beschreibung">
            <a:extLst>
              <a:ext uri="{FF2B5EF4-FFF2-40B4-BE49-F238E27FC236}">
                <a16:creationId xmlns:a16="http://schemas.microsoft.com/office/drawing/2014/main" id="{690F0C2C-476E-7A4B-63FE-182AE1A477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529736"/>
            <a:ext cx="5450873" cy="5492377"/>
          </a:xfrm>
          <a:prstGeom prst="rect">
            <a:avLst/>
          </a:prstGeom>
        </p:spPr>
      </p:pic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4926C71D-4CDA-0B83-FE4C-B14475DF120C}"/>
              </a:ext>
            </a:extLst>
          </p:cNvPr>
          <p:cNvCxnSpPr/>
          <p:nvPr/>
        </p:nvCxnSpPr>
        <p:spPr>
          <a:xfrm>
            <a:off x="5216736" y="4469424"/>
            <a:ext cx="990600" cy="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64F312B8-B492-C9D6-A1D9-72354CC64AD9}"/>
              </a:ext>
            </a:extLst>
          </p:cNvPr>
          <p:cNvCxnSpPr/>
          <p:nvPr/>
        </p:nvCxnSpPr>
        <p:spPr>
          <a:xfrm>
            <a:off x="5331769" y="1500555"/>
            <a:ext cx="990600" cy="0"/>
          </a:xfrm>
          <a:prstGeom prst="straightConnector1">
            <a:avLst/>
          </a:prstGeom>
          <a:ln w="762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D2A7216A-D9EC-AB7F-AB24-798D25AB7AC9}"/>
              </a:ext>
            </a:extLst>
          </p:cNvPr>
          <p:cNvSpPr txBox="1"/>
          <p:nvPr/>
        </p:nvSpPr>
        <p:spPr>
          <a:xfrm>
            <a:off x="457200" y="2813538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algn="l"/>
            <a:r>
              <a:rPr lang="en-US"/>
              <a:t>Will be base </a:t>
            </a:r>
            <a:r>
              <a:rPr lang="en-US" err="1"/>
              <a:t>url</a:t>
            </a:r>
            <a:r>
              <a:rPr lang="en-US"/>
              <a:t> for all requests</a:t>
            </a:r>
          </a:p>
          <a:p>
            <a:pPr algn="l"/>
            <a:endParaRPr lang="en-US"/>
          </a:p>
          <a:p>
            <a:pPr algn="l"/>
            <a:r>
              <a:rPr lang="en-US"/>
              <a:t>Can not be overwritten by request*</a:t>
            </a:r>
          </a:p>
          <a:p>
            <a:pPr algn="l"/>
            <a:endParaRPr lang="en-US"/>
          </a:p>
          <a:p>
            <a:pPr algn="l"/>
            <a:endParaRPr lang="en-US"/>
          </a:p>
          <a:p>
            <a:pPr algn="l"/>
            <a:endParaRPr lang="en-US"/>
          </a:p>
          <a:p>
            <a:pPr algn="l"/>
            <a:endParaRPr lang="en-US"/>
          </a:p>
          <a:p>
            <a:pPr algn="l"/>
            <a:endParaRPr lang="en-US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8DC6D2F-9D1C-A6A8-6027-6CC673215707}"/>
              </a:ext>
            </a:extLst>
          </p:cNvPr>
          <p:cNvSpPr txBox="1"/>
          <p:nvPr/>
        </p:nvSpPr>
        <p:spPr>
          <a:xfrm>
            <a:off x="156795" y="4462944"/>
            <a:ext cx="4668716" cy="914400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algn="l"/>
            <a:r>
              <a:rPr lang="de-DE" b="1" i="0">
                <a:solidFill>
                  <a:srgbClr val="FF0000"/>
                </a:solidFill>
                <a:effectLst/>
                <a:latin typeface="Inter"/>
              </a:rPr>
              <a:t>https://</a:t>
            </a:r>
            <a:r>
              <a:rPr lang="de-DE" b="1" i="0">
                <a:solidFill>
                  <a:schemeClr val="accent1"/>
                </a:solidFill>
                <a:effectLst/>
                <a:latin typeface="Inter"/>
              </a:rPr>
              <a:t>apim-dhino-fetch-test.azure-api.net</a:t>
            </a:r>
            <a:r>
              <a:rPr lang="de-DE" b="1" i="0">
                <a:solidFill>
                  <a:srgbClr val="FFC000"/>
                </a:solidFill>
                <a:effectLst/>
                <a:latin typeface="Inter"/>
              </a:rPr>
              <a:t>/001</a:t>
            </a:r>
            <a:endParaRPr lang="de-DE" b="1">
              <a:solidFill>
                <a:srgbClr val="FFC000"/>
              </a:solidFill>
            </a:endParaRP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5B935CEA-AE29-3CA5-C33C-5608D9814D11}"/>
              </a:ext>
            </a:extLst>
          </p:cNvPr>
          <p:cNvCxnSpPr/>
          <p:nvPr/>
        </p:nvCxnSpPr>
        <p:spPr>
          <a:xfrm>
            <a:off x="5216736" y="5122367"/>
            <a:ext cx="990600" cy="0"/>
          </a:xfrm>
          <a:prstGeom prst="straightConnector1">
            <a:avLst/>
          </a:prstGeom>
          <a:ln w="762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3E500006-AFC2-CB38-2465-7B97A51D96C5}"/>
              </a:ext>
            </a:extLst>
          </p:cNvPr>
          <p:cNvCxnSpPr/>
          <p:nvPr/>
        </p:nvCxnSpPr>
        <p:spPr>
          <a:xfrm>
            <a:off x="5216736" y="5784721"/>
            <a:ext cx="990600" cy="0"/>
          </a:xfrm>
          <a:prstGeom prst="straightConnector1">
            <a:avLst/>
          </a:prstGeom>
          <a:ln w="762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59A8FA44-2F84-BF1A-231B-767DD635CB8B}"/>
              </a:ext>
            </a:extLst>
          </p:cNvPr>
          <p:cNvSpPr txBox="1"/>
          <p:nvPr/>
        </p:nvSpPr>
        <p:spPr>
          <a:xfrm>
            <a:off x="4546356" y="1261342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algn="l"/>
            <a:r>
              <a:rPr lang="de-DE" sz="3200"/>
              <a:t>🙂</a:t>
            </a:r>
            <a:endParaRPr lang="en-US" sz="3200"/>
          </a:p>
          <a:p>
            <a:pPr algn="l"/>
            <a:endParaRPr lang="en-US" sz="3200"/>
          </a:p>
          <a:p>
            <a:pPr algn="l"/>
            <a:endParaRPr lang="en-US" sz="3200"/>
          </a:p>
          <a:p>
            <a:pPr algn="l"/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256188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53FAD7-48C1-12B2-FC87-A2743C9684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ifferent Authentication Methods</a:t>
            </a:r>
          </a:p>
        </p:txBody>
      </p:sp>
      <p:pic>
        <p:nvPicPr>
          <p:cNvPr id="7" name="Grafik 6" descr="Ein Bild, das Text, Screenshot, Software, Schrift enthält.&#10;&#10;Automatisch generierte Beschreibung">
            <a:extLst>
              <a:ext uri="{FF2B5EF4-FFF2-40B4-BE49-F238E27FC236}">
                <a16:creationId xmlns:a16="http://schemas.microsoft.com/office/drawing/2014/main" id="{83F34DDB-CB2E-D374-1E04-CA2918079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1572" y="1656791"/>
            <a:ext cx="9046706" cy="3544418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5E2E629F-8AA1-FFDB-824D-E5D5DEE73B0E}"/>
              </a:ext>
            </a:extLst>
          </p:cNvPr>
          <p:cNvSpPr txBox="1"/>
          <p:nvPr/>
        </p:nvSpPr>
        <p:spPr>
          <a:xfrm>
            <a:off x="1095375" y="5486400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algn="l"/>
            <a:r>
              <a:rPr lang="en-US" sz="2800"/>
              <a:t>Depends on your API – if it has a different one it will be time to get creative</a:t>
            </a:r>
          </a:p>
        </p:txBody>
      </p:sp>
    </p:spTree>
    <p:extLst>
      <p:ext uri="{BB962C8B-B14F-4D97-AF65-F5344CB8AC3E}">
        <p14:creationId xmlns:p14="http://schemas.microsoft.com/office/powerpoint/2010/main" val="18048681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3581E4-CDF8-E831-7F02-01CBBA766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MO TIME!</a:t>
            </a:r>
            <a:endParaRPr lang="en-NL"/>
          </a:p>
        </p:txBody>
      </p:sp>
      <p:pic>
        <p:nvPicPr>
          <p:cNvPr id="4" name="Picture 3" descr="A cat sitting on a chair with a computer&#10;&#10;Description automatically generated">
            <a:extLst>
              <a:ext uri="{FF2B5EF4-FFF2-40B4-BE49-F238E27FC236}">
                <a16:creationId xmlns:a16="http://schemas.microsoft.com/office/drawing/2014/main" id="{EAB013ED-5DA9-4CDF-411F-CAE5DE58CE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660626" y="1190172"/>
            <a:ext cx="7485582" cy="4208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7069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A0E685F-3078-8DA0-0387-A497A76087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b 02 – </a:t>
            </a:r>
            <a:r>
              <a:rPr kumimoji="0" lang="de-DE" sz="4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uilding a Custom Connector </a:t>
            </a:r>
            <a:r>
              <a:rPr kumimoji="0" lang="de-DE" sz="40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om</a:t>
            </a:r>
            <a:r>
              <a:rPr kumimoji="0" lang="de-DE" sz="4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Scratch 💪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785083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29FD86-8F15-28F1-F542-0280EB116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B24F32-09D3-FF96-6419-911B6DFDD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ab environment</a:t>
            </a:r>
            <a:endParaRPr lang="en-NL"/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68EA5C53-D3AB-B3FF-6BEC-2835F48508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32099" y="1065600"/>
            <a:ext cx="7327799" cy="4885200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A0BBC6E2-5A4C-37A3-0BA9-9F3127165F8B}"/>
              </a:ext>
            </a:extLst>
          </p:cNvPr>
          <p:cNvSpPr txBox="1"/>
          <p:nvPr/>
        </p:nvSpPr>
        <p:spPr>
          <a:xfrm>
            <a:off x="1753599" y="5430982"/>
            <a:ext cx="8684801" cy="519818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bel"/>
                <a:ea typeface="+mn-ea"/>
                <a:cs typeface="+mn-cs"/>
              </a:rPr>
              <a:t>https://aka.ms/custom-connector-masterclass</a:t>
            </a:r>
            <a:endParaRPr kumimoji="0" lang="en-NL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be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98412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06B2BD-9B72-CCFF-F555-8889F7B2A5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C7CB060F-6135-BD97-F7C6-3B9182247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2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b 02 – </a:t>
            </a:r>
            <a:r>
              <a:rPr kumimoji="0" lang="de-DE" sz="32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uilding a Custom Connector </a:t>
            </a:r>
            <a:r>
              <a:rPr kumimoji="0" lang="de-DE" sz="320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om</a:t>
            </a:r>
            <a:r>
              <a:rPr kumimoji="0" lang="de-DE" sz="32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Scratch 💪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9B75C74-1D8C-FCC4-0840-47DA5209CD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189329"/>
            <a:ext cx="11143211" cy="5034188"/>
          </a:xfrm>
        </p:spPr>
        <p:txBody>
          <a:bodyPr/>
          <a:lstStyle/>
          <a:p>
            <a:r>
              <a:rPr lang="en-US"/>
              <a:t>Create Solution</a:t>
            </a:r>
          </a:p>
          <a:p>
            <a:r>
              <a:rPr lang="en-US"/>
              <a:t>Create a connector in the solution</a:t>
            </a:r>
          </a:p>
          <a:p>
            <a:r>
              <a:rPr lang="en-US"/>
              <a:t>Setup authentication</a:t>
            </a:r>
          </a:p>
          <a:p>
            <a:r>
              <a:rPr lang="en-US"/>
              <a:t>Add simple operation (&amp; test it)</a:t>
            </a:r>
          </a:p>
          <a:p>
            <a:r>
              <a:rPr lang="en-US"/>
              <a:t>Add operation with Parameters</a:t>
            </a:r>
          </a:p>
        </p:txBody>
      </p:sp>
    </p:spTree>
    <p:extLst>
      <p:ext uri="{BB962C8B-B14F-4D97-AF65-F5344CB8AC3E}">
        <p14:creationId xmlns:p14="http://schemas.microsoft.com/office/powerpoint/2010/main" val="21488170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B4D597-B901-24E4-8F41-7E92CA9A04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16A3BEBD-339A-153E-8E05-83FE7148F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02 – Wrap up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EB3B23D-45F8-A297-E082-94E629C21F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189329"/>
            <a:ext cx="11143211" cy="503418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Questions?</a:t>
            </a:r>
          </a:p>
          <a:p>
            <a:r>
              <a:rPr lang="en-US"/>
              <a:t>Ideas?</a:t>
            </a:r>
          </a:p>
          <a:p>
            <a:r>
              <a:rPr lang="en-US"/>
              <a:t>Comments?</a:t>
            </a:r>
          </a:p>
        </p:txBody>
      </p:sp>
    </p:spTree>
    <p:extLst>
      <p:ext uri="{BB962C8B-B14F-4D97-AF65-F5344CB8AC3E}">
        <p14:creationId xmlns:p14="http://schemas.microsoft.com/office/powerpoint/2010/main" val="1860164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FC78442-DF6E-4F48-6656-908D52C87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361240"/>
            <a:ext cx="3468956" cy="626775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0D31A4-6EC6-2009-708E-40CF11ADF3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46104" y="2447038"/>
            <a:ext cx="7009200" cy="2806217"/>
          </a:xfrm>
        </p:spPr>
        <p:txBody>
          <a:bodyPr/>
          <a:lstStyle/>
          <a:p>
            <a:r>
              <a:rPr lang="en-US"/>
              <a:t>Scenario: Event Management</a:t>
            </a:r>
          </a:p>
          <a:p>
            <a:r>
              <a:rPr lang="en-US"/>
              <a:t>Base Setup / Solution</a:t>
            </a:r>
          </a:p>
          <a:p>
            <a:r>
              <a:rPr lang="en-US"/>
              <a:t>Parts of a connector</a:t>
            </a:r>
          </a:p>
          <a:p>
            <a:r>
              <a:rPr lang="en-US"/>
              <a:t>Start from B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520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0EFE173-BCD1-0D9A-DFCC-F46F1A6533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err="1"/>
              <a:t>Let‘s</a:t>
            </a:r>
            <a:r>
              <a:rPr lang="de-DE"/>
              <a:t> connect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Nordic Summit Event Management!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1F542F9-160A-44B1-CC63-BE2B4447C51C}"/>
              </a:ext>
            </a:extLst>
          </p:cNvPr>
          <p:cNvSpPr txBox="1"/>
          <p:nvPr/>
        </p:nvSpPr>
        <p:spPr>
          <a:xfrm rot="2011948">
            <a:off x="9379644" y="777005"/>
            <a:ext cx="2580838" cy="1079408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algn="l"/>
            <a:r>
              <a:rPr lang="de-DE" sz="5400" b="1">
                <a:solidFill>
                  <a:srgbClr val="FF0000"/>
                </a:solidFill>
              </a:rPr>
              <a:t>Scenario</a:t>
            </a:r>
          </a:p>
        </p:txBody>
      </p:sp>
    </p:spTree>
    <p:extLst>
      <p:ext uri="{BB962C8B-B14F-4D97-AF65-F5344CB8AC3E}">
        <p14:creationId xmlns:p14="http://schemas.microsoft.com/office/powerpoint/2010/main" val="23692195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3BF608D-2627-47AE-BD4C-64EC680885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846" y="1345223"/>
            <a:ext cx="11199600" cy="608400"/>
          </a:xfrm>
        </p:spPr>
        <p:txBody>
          <a:bodyPr/>
          <a:lstStyle/>
          <a:p>
            <a:pPr algn="ctr"/>
            <a:r>
              <a:rPr lang="de-DE" sz="6600"/>
              <a:t>Nordic Summit </a:t>
            </a:r>
            <a:br>
              <a:rPr lang="de-DE" sz="6600"/>
            </a:br>
            <a:r>
              <a:rPr lang="de-DE" sz="6600"/>
              <a:t>❤️</a:t>
            </a:r>
            <a:br>
              <a:rPr lang="de-DE" sz="6600"/>
            </a:br>
            <a:r>
              <a:rPr lang="de-DE" sz="6600"/>
              <a:t>Power </a:t>
            </a:r>
            <a:r>
              <a:rPr lang="de-DE" sz="6600" err="1"/>
              <a:t>Platform</a:t>
            </a:r>
            <a:endParaRPr lang="de-DE" sz="6600"/>
          </a:p>
        </p:txBody>
      </p:sp>
    </p:spTree>
    <p:extLst>
      <p:ext uri="{BB962C8B-B14F-4D97-AF65-F5344CB8AC3E}">
        <p14:creationId xmlns:p14="http://schemas.microsoft.com/office/powerpoint/2010/main" val="22905888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CE7AFF-15BA-8A78-06F2-E6C5539BB9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pp Model Driv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2418770-8780-2980-D834-0AFB929ADC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5930" y="1268763"/>
            <a:ext cx="10046677" cy="4796682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979B0A2B-A9BD-4EBE-BFD9-65191E32B31D}"/>
              </a:ext>
            </a:extLst>
          </p:cNvPr>
          <p:cNvSpPr txBox="1"/>
          <p:nvPr/>
        </p:nvSpPr>
        <p:spPr>
          <a:xfrm>
            <a:off x="6875583" y="3631221"/>
            <a:ext cx="4317023" cy="243422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40" tIns="45720" rIns="91440" bIns="45720" rtlCol="0">
            <a:normAutofit fontScale="92500" lnSpcReduction="10000"/>
          </a:bodyPr>
          <a:lstStyle/>
          <a:p>
            <a:pPr algn="l"/>
            <a:r>
              <a:rPr lang="en-US" sz="2400"/>
              <a:t>Attendee Management</a:t>
            </a:r>
          </a:p>
          <a:p>
            <a:pPr algn="l"/>
            <a:r>
              <a:rPr lang="en-US" sz="2400"/>
              <a:t>Sessions / Speaker</a:t>
            </a:r>
          </a:p>
          <a:p>
            <a:pPr algn="l"/>
            <a:r>
              <a:rPr lang="en-US" sz="2400"/>
              <a:t>Hotel Room Bookings</a:t>
            </a:r>
          </a:p>
          <a:p>
            <a:pPr algn="l"/>
            <a:r>
              <a:rPr lang="en-US" sz="2400"/>
              <a:t>Partner Management </a:t>
            </a:r>
          </a:p>
          <a:p>
            <a:pPr algn="l"/>
            <a:r>
              <a:rPr lang="en-US" sz="2400"/>
              <a:t>Sales</a:t>
            </a:r>
          </a:p>
          <a:p>
            <a:pPr algn="l"/>
            <a:r>
              <a:rPr lang="en-US" sz="2400"/>
              <a:t>Feedback</a:t>
            </a:r>
          </a:p>
          <a:p>
            <a:pPr algn="l"/>
            <a:r>
              <a:rPr lang="en-US" sz="2400"/>
              <a:t>And more!</a:t>
            </a:r>
          </a:p>
        </p:txBody>
      </p:sp>
    </p:spTree>
    <p:extLst>
      <p:ext uri="{BB962C8B-B14F-4D97-AF65-F5344CB8AC3E}">
        <p14:creationId xmlns:p14="http://schemas.microsoft.com/office/powerpoint/2010/main" val="39183873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3BF608D-2627-47AE-BD4C-64EC68088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pp Phon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4BF2C4B-9A1C-BE4D-019B-035E44EF81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5639" y="140601"/>
            <a:ext cx="3965861" cy="554744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7694E27-574F-DE14-E3CD-493ADE8189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500" y="1590675"/>
            <a:ext cx="7404115" cy="4097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8740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E17B313-DD2F-8516-7AF3-2A29A5653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hind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scenes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A4BDD07-08FD-99D4-BEC6-6808B332CD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Nordic Summit </a:t>
            </a:r>
            <a:r>
              <a:rPr lang="de-DE" err="1"/>
              <a:t>uses</a:t>
            </a:r>
            <a:r>
              <a:rPr lang="de-DE"/>
              <a:t> Power </a:t>
            </a:r>
            <a:r>
              <a:rPr lang="de-DE" err="1"/>
              <a:t>Platform</a:t>
            </a:r>
            <a:r>
              <a:rPr lang="de-DE"/>
              <a:t> + Azure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their</a:t>
            </a:r>
            <a:r>
              <a:rPr lang="de-DE"/>
              <a:t> Event Management</a:t>
            </a:r>
          </a:p>
          <a:p>
            <a:endParaRPr lang="de-DE"/>
          </a:p>
        </p:txBody>
      </p:sp>
      <p:grpSp>
        <p:nvGrpSpPr>
          <p:cNvPr id="5" name="Group 75">
            <a:extLst>
              <a:ext uri="{FF2B5EF4-FFF2-40B4-BE49-F238E27FC236}">
                <a16:creationId xmlns:a16="http://schemas.microsoft.com/office/drawing/2014/main" id="{F16FAE92-22B3-65F4-D099-92E4DA3BB39C}"/>
              </a:ext>
            </a:extLst>
          </p:cNvPr>
          <p:cNvGrpSpPr/>
          <p:nvPr/>
        </p:nvGrpSpPr>
        <p:grpSpPr>
          <a:xfrm>
            <a:off x="459725" y="2776918"/>
            <a:ext cx="2016868" cy="1321097"/>
            <a:chOff x="2277610" y="982801"/>
            <a:chExt cx="1217455" cy="797462"/>
          </a:xfrm>
        </p:grpSpPr>
        <p:sp>
          <p:nvSpPr>
            <p:cNvPr id="6" name="Textfeld 30">
              <a:extLst>
                <a:ext uri="{FF2B5EF4-FFF2-40B4-BE49-F238E27FC236}">
                  <a16:creationId xmlns:a16="http://schemas.microsoft.com/office/drawing/2014/main" id="{6E4F46B4-E3BA-9AA9-AC60-90C75FB1C0E7}"/>
                </a:ext>
              </a:extLst>
            </p:cNvPr>
            <p:cNvSpPr txBox="1"/>
            <p:nvPr/>
          </p:nvSpPr>
          <p:spPr>
            <a:xfrm>
              <a:off x="2277610" y="1503264"/>
              <a:ext cx="121745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>
                <a:spcAft>
                  <a:spcPts val="800"/>
                </a:spcAft>
                <a:defRPr/>
              </a:pPr>
              <a:r>
                <a:rPr lang="de-DE" sz="1200" b="1">
                  <a:latin typeface="Montserrat" panose="00000500000000000000" pitchFamily="2" charset="0"/>
                </a:rPr>
                <a:t>Dataverse </a:t>
              </a:r>
              <a:endParaRPr lang="de-DE" sz="1200">
                <a:latin typeface="Montserrat" panose="00000500000000000000" pitchFamily="2" charset="0"/>
              </a:endParaRPr>
            </a:p>
          </p:txBody>
        </p:sp>
        <p:pic>
          <p:nvPicPr>
            <p:cNvPr id="7" name="Picture 4" descr="Chart&#10;&#10;Description automatically generated with low confidence">
              <a:extLst>
                <a:ext uri="{FF2B5EF4-FFF2-40B4-BE49-F238E27FC236}">
                  <a16:creationId xmlns:a16="http://schemas.microsoft.com/office/drawing/2014/main" id="{3E1CFE93-0D40-D3B9-EF74-B1BED00C0C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0240" y="982801"/>
              <a:ext cx="612196" cy="470454"/>
            </a:xfrm>
            <a:prstGeom prst="rect">
              <a:avLst/>
            </a:prstGeom>
          </p:spPr>
        </p:pic>
      </p:grpSp>
      <p:sp>
        <p:nvSpPr>
          <p:cNvPr id="8" name="Rechteck 7">
            <a:extLst>
              <a:ext uri="{FF2B5EF4-FFF2-40B4-BE49-F238E27FC236}">
                <a16:creationId xmlns:a16="http://schemas.microsoft.com/office/drawing/2014/main" id="{BC5C4E07-6A2F-264D-31F7-C2227939505E}"/>
              </a:ext>
            </a:extLst>
          </p:cNvPr>
          <p:cNvSpPr/>
          <p:nvPr/>
        </p:nvSpPr>
        <p:spPr>
          <a:xfrm>
            <a:off x="329442" y="2406978"/>
            <a:ext cx="2230099" cy="2557642"/>
          </a:xfrm>
          <a:prstGeom prst="rect">
            <a:avLst/>
          </a:prstGeom>
          <a:noFill/>
          <a:ln w="571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ED59B56-01CB-6CF9-00BE-492BC94BA6F5}"/>
              </a:ext>
            </a:extLst>
          </p:cNvPr>
          <p:cNvSpPr txBox="1"/>
          <p:nvPr/>
        </p:nvSpPr>
        <p:spPr>
          <a:xfrm>
            <a:off x="644432" y="4513400"/>
            <a:ext cx="1600117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de-DE">
                <a:solidFill>
                  <a:schemeClr val="accent4">
                    <a:lumMod val="75000"/>
                  </a:schemeClr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M365 </a:t>
            </a:r>
            <a:r>
              <a:rPr lang="de-DE" err="1">
                <a:solidFill>
                  <a:schemeClr val="accent4">
                    <a:lumMod val="75000"/>
                  </a:schemeClr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Tenant</a:t>
            </a:r>
            <a:endParaRPr lang="de-DE">
              <a:solidFill>
                <a:schemeClr val="accent4">
                  <a:lumMod val="75000"/>
                </a:schemeClr>
              </a:solidFill>
              <a:latin typeface="Posterama" panose="020B0504020200020000" pitchFamily="34" charset="0"/>
              <a:ea typeface="微软雅黑"/>
              <a:cs typeface="Posterama" panose="020B0504020200020000" pitchFamily="34" charset="0"/>
            </a:endParaRPr>
          </a:p>
        </p:txBody>
      </p:sp>
      <p:pic>
        <p:nvPicPr>
          <p:cNvPr id="10" name="Grafik 9" descr="Gruppe von Personen mit einfarbiger Füllung">
            <a:extLst>
              <a:ext uri="{FF2B5EF4-FFF2-40B4-BE49-F238E27FC236}">
                <a16:creationId xmlns:a16="http://schemas.microsoft.com/office/drawing/2014/main" id="{B13D7F57-3682-6DBC-55E4-1D25A47BBD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58288" y="2406978"/>
            <a:ext cx="1896270" cy="189627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0D2DBFB1-A88C-B68A-B4CD-A585BA7C047D}"/>
              </a:ext>
            </a:extLst>
          </p:cNvPr>
          <p:cNvSpPr txBox="1"/>
          <p:nvPr/>
        </p:nvSpPr>
        <p:spPr>
          <a:xfrm>
            <a:off x="9291373" y="4502955"/>
            <a:ext cx="2230099" cy="46166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de-DE" sz="2400">
                <a:solidFill>
                  <a:schemeClr val="accent4">
                    <a:lumMod val="75000"/>
                  </a:schemeClr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External User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FEFCA4D-20CC-804E-8C19-ACA8C34A4C60}"/>
              </a:ext>
            </a:extLst>
          </p:cNvPr>
          <p:cNvSpPr/>
          <p:nvPr/>
        </p:nvSpPr>
        <p:spPr>
          <a:xfrm>
            <a:off x="3695357" y="2419826"/>
            <a:ext cx="4680293" cy="2557642"/>
          </a:xfrm>
          <a:prstGeom prst="rect">
            <a:avLst/>
          </a:prstGeom>
          <a:noFill/>
          <a:ln w="57150">
            <a:solidFill>
              <a:schemeClr val="accent6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6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2471435-414F-8333-DE4B-C11AB97C0B74}"/>
              </a:ext>
            </a:extLst>
          </p:cNvPr>
          <p:cNvSpPr txBox="1"/>
          <p:nvPr/>
        </p:nvSpPr>
        <p:spPr>
          <a:xfrm>
            <a:off x="4003305" y="4549121"/>
            <a:ext cx="811440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de-DE">
                <a:solidFill>
                  <a:schemeClr val="accent6">
                    <a:lumMod val="75000"/>
                    <a:lumOff val="25000"/>
                  </a:schemeClr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Azure</a:t>
            </a:r>
          </a:p>
        </p:txBody>
      </p:sp>
      <p:pic>
        <p:nvPicPr>
          <p:cNvPr id="14" name="Picture 4" descr="Static Web Apps pricing - Microsoft Azure">
            <a:extLst>
              <a:ext uri="{FF2B5EF4-FFF2-40B4-BE49-F238E27FC236}">
                <a16:creationId xmlns:a16="http://schemas.microsoft.com/office/drawing/2014/main" id="{68EFA8C8-0D32-5120-229A-824829732C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0973" y="3018661"/>
            <a:ext cx="1489143" cy="78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A615F4DF-6BA9-6428-D024-6B89149561B2}"/>
              </a:ext>
            </a:extLst>
          </p:cNvPr>
          <p:cNvSpPr txBox="1"/>
          <p:nvPr/>
        </p:nvSpPr>
        <p:spPr>
          <a:xfrm>
            <a:off x="6378086" y="3933916"/>
            <a:ext cx="1814920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de-DE">
                <a:solidFill>
                  <a:schemeClr val="accent6">
                    <a:lumMod val="75000"/>
                    <a:lumOff val="25000"/>
                  </a:schemeClr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Static Web App</a:t>
            </a:r>
          </a:p>
        </p:txBody>
      </p:sp>
      <p:pic>
        <p:nvPicPr>
          <p:cNvPr id="16" name="Picture 2" descr="Beginner's guide to Azure Functions — Part 1 | by Nikhil Khandelwal |  ashsoftware | Medium">
            <a:extLst>
              <a:ext uri="{FF2B5EF4-FFF2-40B4-BE49-F238E27FC236}">
                <a16:creationId xmlns:a16="http://schemas.microsoft.com/office/drawing/2014/main" id="{DDFE837F-ABA1-FD74-668A-5B23AD5215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3305" y="3079396"/>
            <a:ext cx="2229721" cy="953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41C38182-E5CF-D640-6DC0-2A9B34113F9A}"/>
              </a:ext>
            </a:extLst>
          </p:cNvPr>
          <p:cNvCxnSpPr/>
          <p:nvPr/>
        </p:nvCxnSpPr>
        <p:spPr>
          <a:xfrm flipH="1">
            <a:off x="2244549" y="3490279"/>
            <a:ext cx="1677312" cy="0"/>
          </a:xfrm>
          <a:prstGeom prst="straightConnector1">
            <a:avLst/>
          </a:prstGeom>
          <a:ln w="571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967CB47A-6305-C072-0B93-F85650016DAB}"/>
              </a:ext>
            </a:extLst>
          </p:cNvPr>
          <p:cNvCxnSpPr>
            <a:cxnSpLocks/>
          </p:cNvCxnSpPr>
          <p:nvPr/>
        </p:nvCxnSpPr>
        <p:spPr>
          <a:xfrm>
            <a:off x="5593149" y="3235814"/>
            <a:ext cx="947824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BEC6040B-BC3E-FBBB-3DCA-828792E9148B}"/>
              </a:ext>
            </a:extLst>
          </p:cNvPr>
          <p:cNvCxnSpPr>
            <a:cxnSpLocks/>
          </p:cNvCxnSpPr>
          <p:nvPr/>
        </p:nvCxnSpPr>
        <p:spPr>
          <a:xfrm flipH="1">
            <a:off x="8566586" y="3347331"/>
            <a:ext cx="1082202" cy="0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E9C35AF1-EB6A-C21E-2829-2E4B48FBE8CA}"/>
              </a:ext>
            </a:extLst>
          </p:cNvPr>
          <p:cNvSpPr txBox="1"/>
          <p:nvPr/>
        </p:nvSpPr>
        <p:spPr>
          <a:xfrm>
            <a:off x="2509700" y="3079396"/>
            <a:ext cx="1167307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de-DE" sz="1800" b="1" err="1">
                <a:solidFill>
                  <a:srgbClr val="FFC000"/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Get</a:t>
            </a:r>
            <a:r>
              <a:rPr lang="de-DE" sz="1800" b="1">
                <a:solidFill>
                  <a:srgbClr val="FFC000"/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 Data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7C447B69-8984-6C6B-CBAE-A049DC5CC772}"/>
              </a:ext>
            </a:extLst>
          </p:cNvPr>
          <p:cNvSpPr txBox="1"/>
          <p:nvPr/>
        </p:nvSpPr>
        <p:spPr>
          <a:xfrm>
            <a:off x="5191226" y="2671168"/>
            <a:ext cx="1635384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de-DE" b="1">
                <a:solidFill>
                  <a:srgbClr val="FF0000"/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Trigger Build</a:t>
            </a:r>
            <a:endParaRPr lang="de-DE" sz="1800" b="1">
              <a:solidFill>
                <a:srgbClr val="FF0000"/>
              </a:solidFill>
              <a:latin typeface="Posterama" panose="020B0504020200020000" pitchFamily="34" charset="0"/>
              <a:ea typeface="微软雅黑"/>
              <a:cs typeface="Posterama" panose="020B0504020200020000" pitchFamily="34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11EED1F2-BB1C-0AA3-E5AC-970813305282}"/>
              </a:ext>
            </a:extLst>
          </p:cNvPr>
          <p:cNvSpPr txBox="1"/>
          <p:nvPr/>
        </p:nvSpPr>
        <p:spPr>
          <a:xfrm>
            <a:off x="8597393" y="2774583"/>
            <a:ext cx="1085555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 b="1">
                <a:solidFill>
                  <a:srgbClr val="00B050"/>
                </a:solidFill>
              </a:rPr>
              <a:t>Consume</a:t>
            </a:r>
          </a:p>
        </p:txBody>
      </p:sp>
      <p:pic>
        <p:nvPicPr>
          <p:cNvPr id="1026" name="Picture 2" descr="API Gateway Logo">
            <a:extLst>
              <a:ext uri="{FF2B5EF4-FFF2-40B4-BE49-F238E27FC236}">
                <a16:creationId xmlns:a16="http://schemas.microsoft.com/office/drawing/2014/main" id="{7A7180A3-6272-297C-DCD9-2B8D265E91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9584" y="3741613"/>
            <a:ext cx="1631595" cy="815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D433F89E-0938-B3DD-58E5-1CBAF61B3EA9}"/>
              </a:ext>
            </a:extLst>
          </p:cNvPr>
          <p:cNvSpPr txBox="1"/>
          <p:nvPr/>
        </p:nvSpPr>
        <p:spPr>
          <a:xfrm>
            <a:off x="5769025" y="4486445"/>
            <a:ext cx="1600118" cy="30777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de-DE" sz="1400">
                <a:solidFill>
                  <a:schemeClr val="accent6">
                    <a:lumMod val="75000"/>
                    <a:lumOff val="25000"/>
                  </a:schemeClr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API Management</a:t>
            </a:r>
          </a:p>
        </p:txBody>
      </p:sp>
    </p:spTree>
    <p:extLst>
      <p:ext uri="{BB962C8B-B14F-4D97-AF65-F5344CB8AC3E}">
        <p14:creationId xmlns:p14="http://schemas.microsoft.com/office/powerpoint/2010/main" val="33743040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1" grpId="0"/>
      <p:bldP spid="12" grpId="0" animBg="1"/>
      <p:bldP spid="13" grpId="0"/>
      <p:bldP spid="15" grpId="0"/>
      <p:bldP spid="20" grpId="0"/>
      <p:bldP spid="21" grpId="0"/>
      <p:bldP spid="22" grpId="0"/>
      <p:bldP spid="2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E17B313-DD2F-8516-7AF3-2A29A5653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hind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scenes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A4BDD07-08FD-99D4-BEC6-6808B332CD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use</a:t>
            </a:r>
            <a:r>
              <a:rPr lang="de-DE"/>
              <a:t> a Custom Connector </a:t>
            </a:r>
            <a:r>
              <a:rPr lang="de-DE" err="1"/>
              <a:t>to</a:t>
            </a:r>
            <a:r>
              <a:rPr lang="de-DE"/>
              <a:t> connect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their</a:t>
            </a:r>
            <a:r>
              <a:rPr lang="de-DE"/>
              <a:t> API</a:t>
            </a:r>
          </a:p>
          <a:p>
            <a:endParaRPr lang="de-DE"/>
          </a:p>
        </p:txBody>
      </p:sp>
      <p:grpSp>
        <p:nvGrpSpPr>
          <p:cNvPr id="5" name="Group 75">
            <a:extLst>
              <a:ext uri="{FF2B5EF4-FFF2-40B4-BE49-F238E27FC236}">
                <a16:creationId xmlns:a16="http://schemas.microsoft.com/office/drawing/2014/main" id="{F16FAE92-22B3-65F4-D099-92E4DA3BB39C}"/>
              </a:ext>
            </a:extLst>
          </p:cNvPr>
          <p:cNvGrpSpPr/>
          <p:nvPr/>
        </p:nvGrpSpPr>
        <p:grpSpPr>
          <a:xfrm>
            <a:off x="183081" y="2191041"/>
            <a:ext cx="2016868" cy="1321097"/>
            <a:chOff x="2277610" y="982801"/>
            <a:chExt cx="1217455" cy="797462"/>
          </a:xfrm>
        </p:grpSpPr>
        <p:sp>
          <p:nvSpPr>
            <p:cNvPr id="6" name="Textfeld 30">
              <a:extLst>
                <a:ext uri="{FF2B5EF4-FFF2-40B4-BE49-F238E27FC236}">
                  <a16:creationId xmlns:a16="http://schemas.microsoft.com/office/drawing/2014/main" id="{6E4F46B4-E3BA-9AA9-AC60-90C75FB1C0E7}"/>
                </a:ext>
              </a:extLst>
            </p:cNvPr>
            <p:cNvSpPr txBox="1"/>
            <p:nvPr/>
          </p:nvSpPr>
          <p:spPr>
            <a:xfrm>
              <a:off x="2277610" y="1503264"/>
              <a:ext cx="121745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>
                <a:spcAft>
                  <a:spcPts val="800"/>
                </a:spcAft>
                <a:defRPr/>
              </a:pPr>
              <a:r>
                <a:rPr lang="de-DE" sz="1200" b="1">
                  <a:latin typeface="Montserrat" panose="00000500000000000000" pitchFamily="2" charset="0"/>
                </a:rPr>
                <a:t>Dataverse </a:t>
              </a:r>
              <a:endParaRPr lang="de-DE" sz="1200">
                <a:latin typeface="Montserrat" panose="00000500000000000000" pitchFamily="2" charset="0"/>
              </a:endParaRPr>
            </a:p>
          </p:txBody>
        </p:sp>
        <p:pic>
          <p:nvPicPr>
            <p:cNvPr id="7" name="Picture 4" descr="Chart&#10;&#10;Description automatically generated with low confidence">
              <a:extLst>
                <a:ext uri="{FF2B5EF4-FFF2-40B4-BE49-F238E27FC236}">
                  <a16:creationId xmlns:a16="http://schemas.microsoft.com/office/drawing/2014/main" id="{3E1CFE93-0D40-D3B9-EF74-B1BED00C0C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0240" y="982801"/>
              <a:ext cx="612196" cy="470454"/>
            </a:xfrm>
            <a:prstGeom prst="rect">
              <a:avLst/>
            </a:prstGeom>
          </p:spPr>
        </p:pic>
      </p:grpSp>
      <p:sp>
        <p:nvSpPr>
          <p:cNvPr id="8" name="Rechteck 7">
            <a:extLst>
              <a:ext uri="{FF2B5EF4-FFF2-40B4-BE49-F238E27FC236}">
                <a16:creationId xmlns:a16="http://schemas.microsoft.com/office/drawing/2014/main" id="{BC5C4E07-6A2F-264D-31F7-C2227939505E}"/>
              </a:ext>
            </a:extLst>
          </p:cNvPr>
          <p:cNvSpPr/>
          <p:nvPr/>
        </p:nvSpPr>
        <p:spPr>
          <a:xfrm>
            <a:off x="348721" y="2014541"/>
            <a:ext cx="1816875" cy="1896270"/>
          </a:xfrm>
          <a:prstGeom prst="rect">
            <a:avLst/>
          </a:prstGeom>
          <a:noFill/>
          <a:ln w="571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ED59B56-01CB-6CF9-00BE-492BC94BA6F5}"/>
              </a:ext>
            </a:extLst>
          </p:cNvPr>
          <p:cNvSpPr txBox="1"/>
          <p:nvPr/>
        </p:nvSpPr>
        <p:spPr>
          <a:xfrm>
            <a:off x="439871" y="3389711"/>
            <a:ext cx="1600117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de-DE">
                <a:solidFill>
                  <a:schemeClr val="accent4">
                    <a:lumMod val="75000"/>
                  </a:schemeClr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M365 </a:t>
            </a:r>
            <a:r>
              <a:rPr lang="de-DE" err="1">
                <a:solidFill>
                  <a:schemeClr val="accent4">
                    <a:lumMod val="75000"/>
                  </a:schemeClr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Tenant</a:t>
            </a:r>
            <a:endParaRPr lang="de-DE">
              <a:solidFill>
                <a:schemeClr val="accent4">
                  <a:lumMod val="75000"/>
                </a:schemeClr>
              </a:solidFill>
              <a:latin typeface="Posterama" panose="020B0504020200020000" pitchFamily="34" charset="0"/>
              <a:ea typeface="微软雅黑"/>
              <a:cs typeface="Posterama" panose="020B0504020200020000" pitchFamily="34" charset="0"/>
            </a:endParaRPr>
          </a:p>
        </p:txBody>
      </p:sp>
      <p:pic>
        <p:nvPicPr>
          <p:cNvPr id="10" name="Grafik 9" descr="Gruppe von Personen mit einfarbiger Füllung">
            <a:extLst>
              <a:ext uri="{FF2B5EF4-FFF2-40B4-BE49-F238E27FC236}">
                <a16:creationId xmlns:a16="http://schemas.microsoft.com/office/drawing/2014/main" id="{B13D7F57-3682-6DBC-55E4-1D25A47BBD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14160" y="2184868"/>
            <a:ext cx="1059190" cy="105919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0D2DBFB1-A88C-B68A-B4CD-A585BA7C047D}"/>
              </a:ext>
            </a:extLst>
          </p:cNvPr>
          <p:cNvSpPr txBox="1"/>
          <p:nvPr/>
        </p:nvSpPr>
        <p:spPr>
          <a:xfrm>
            <a:off x="9374529" y="3333061"/>
            <a:ext cx="1552028" cy="338554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de-DE" sz="1600">
                <a:solidFill>
                  <a:schemeClr val="accent4">
                    <a:lumMod val="75000"/>
                  </a:schemeClr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External User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FEFCA4D-20CC-804E-8C19-ACA8C34A4C60}"/>
              </a:ext>
            </a:extLst>
          </p:cNvPr>
          <p:cNvSpPr/>
          <p:nvPr/>
        </p:nvSpPr>
        <p:spPr>
          <a:xfrm>
            <a:off x="3253002" y="2018272"/>
            <a:ext cx="4680293" cy="1982223"/>
          </a:xfrm>
          <a:prstGeom prst="rect">
            <a:avLst/>
          </a:prstGeom>
          <a:noFill/>
          <a:ln w="57150">
            <a:solidFill>
              <a:schemeClr val="accent6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6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2471435-414F-8333-DE4B-C11AB97C0B74}"/>
              </a:ext>
            </a:extLst>
          </p:cNvPr>
          <p:cNvSpPr txBox="1"/>
          <p:nvPr/>
        </p:nvSpPr>
        <p:spPr>
          <a:xfrm>
            <a:off x="3338659" y="3574377"/>
            <a:ext cx="811440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de-DE">
                <a:solidFill>
                  <a:schemeClr val="accent6">
                    <a:lumMod val="75000"/>
                    <a:lumOff val="25000"/>
                  </a:schemeClr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Azure</a:t>
            </a:r>
          </a:p>
        </p:txBody>
      </p:sp>
      <p:pic>
        <p:nvPicPr>
          <p:cNvPr id="14" name="Picture 4" descr="Static Web Apps pricing - Microsoft Azure">
            <a:extLst>
              <a:ext uri="{FF2B5EF4-FFF2-40B4-BE49-F238E27FC236}">
                <a16:creationId xmlns:a16="http://schemas.microsoft.com/office/drawing/2014/main" id="{68EFA8C8-0D32-5120-229A-824829732C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1035" y="2230455"/>
            <a:ext cx="1116046" cy="585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A615F4DF-6BA9-6428-D024-6B89149561B2}"/>
              </a:ext>
            </a:extLst>
          </p:cNvPr>
          <p:cNvSpPr txBox="1"/>
          <p:nvPr/>
        </p:nvSpPr>
        <p:spPr>
          <a:xfrm>
            <a:off x="6096000" y="2958740"/>
            <a:ext cx="1814920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de-DE">
                <a:solidFill>
                  <a:schemeClr val="accent6">
                    <a:lumMod val="75000"/>
                    <a:lumOff val="25000"/>
                  </a:schemeClr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Static Web App</a:t>
            </a:r>
          </a:p>
        </p:txBody>
      </p:sp>
      <p:pic>
        <p:nvPicPr>
          <p:cNvPr id="16" name="Picture 2" descr="Beginner's guide to Azure Functions — Part 1 | by Nikhil Khandelwal |  ashsoftware | Medium">
            <a:extLst>
              <a:ext uri="{FF2B5EF4-FFF2-40B4-BE49-F238E27FC236}">
                <a16:creationId xmlns:a16="http://schemas.microsoft.com/office/drawing/2014/main" id="{DDFE837F-ABA1-FD74-668A-5B23AD5215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3059" y="2205725"/>
            <a:ext cx="2229721" cy="953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41C38182-E5CF-D640-6DC0-2A9B34113F9A}"/>
              </a:ext>
            </a:extLst>
          </p:cNvPr>
          <p:cNvCxnSpPr/>
          <p:nvPr/>
        </p:nvCxnSpPr>
        <p:spPr>
          <a:xfrm flipH="1">
            <a:off x="1822028" y="2596031"/>
            <a:ext cx="1677312" cy="0"/>
          </a:xfrm>
          <a:prstGeom prst="straightConnector1">
            <a:avLst/>
          </a:prstGeom>
          <a:ln w="571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BEC6040B-BC3E-FBBB-3DCA-828792E9148B}"/>
              </a:ext>
            </a:extLst>
          </p:cNvPr>
          <p:cNvCxnSpPr>
            <a:cxnSpLocks/>
          </p:cNvCxnSpPr>
          <p:nvPr/>
        </p:nvCxnSpPr>
        <p:spPr>
          <a:xfrm flipH="1">
            <a:off x="8209171" y="2869565"/>
            <a:ext cx="1082202" cy="0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E9C35AF1-EB6A-C21E-2829-2E4B48FBE8CA}"/>
              </a:ext>
            </a:extLst>
          </p:cNvPr>
          <p:cNvSpPr txBox="1"/>
          <p:nvPr/>
        </p:nvSpPr>
        <p:spPr>
          <a:xfrm>
            <a:off x="2087179" y="2185148"/>
            <a:ext cx="1167307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de-DE" sz="1800" b="1" err="1">
                <a:solidFill>
                  <a:srgbClr val="FFC000"/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Get</a:t>
            </a:r>
            <a:r>
              <a:rPr lang="de-DE" sz="1800" b="1">
                <a:solidFill>
                  <a:srgbClr val="FFC000"/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 Dat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11EED1F2-BB1C-0AA3-E5AC-970813305282}"/>
              </a:ext>
            </a:extLst>
          </p:cNvPr>
          <p:cNvSpPr txBox="1"/>
          <p:nvPr/>
        </p:nvSpPr>
        <p:spPr>
          <a:xfrm>
            <a:off x="8239978" y="2296817"/>
            <a:ext cx="1085555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 b="1">
                <a:solidFill>
                  <a:srgbClr val="00B050"/>
                </a:solidFill>
              </a:rPr>
              <a:t>Consum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56F8E50-3DE1-86F1-FF31-7EC4D6F0F525}"/>
              </a:ext>
            </a:extLst>
          </p:cNvPr>
          <p:cNvSpPr/>
          <p:nvPr/>
        </p:nvSpPr>
        <p:spPr>
          <a:xfrm>
            <a:off x="3522924" y="4624754"/>
            <a:ext cx="4319814" cy="1574764"/>
          </a:xfrm>
          <a:prstGeom prst="rect">
            <a:avLst/>
          </a:prstGeom>
          <a:noFill/>
          <a:ln w="571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A8E8A19D-D1E4-7882-1415-ECE8C8E1AD83}"/>
              </a:ext>
            </a:extLst>
          </p:cNvPr>
          <p:cNvSpPr txBox="1"/>
          <p:nvPr/>
        </p:nvSpPr>
        <p:spPr>
          <a:xfrm>
            <a:off x="7951217" y="5742352"/>
            <a:ext cx="2077813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de-DE">
                <a:solidFill>
                  <a:schemeClr val="accent4">
                    <a:lumMod val="75000"/>
                  </a:schemeClr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Workshop </a:t>
            </a:r>
            <a:r>
              <a:rPr lang="de-DE" err="1">
                <a:solidFill>
                  <a:schemeClr val="accent4">
                    <a:lumMod val="75000"/>
                  </a:schemeClr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Tenant</a:t>
            </a:r>
            <a:endParaRPr lang="de-DE">
              <a:solidFill>
                <a:schemeClr val="accent4">
                  <a:lumMod val="75000"/>
                </a:schemeClr>
              </a:solidFill>
              <a:latin typeface="Posterama" panose="020B0504020200020000" pitchFamily="34" charset="0"/>
              <a:ea typeface="微软雅黑"/>
              <a:cs typeface="Posterama" panose="020B0504020200020000" pitchFamily="34" charset="0"/>
            </a:endParaRP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32C7E6A2-7863-FE15-585F-9200A8914E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82276" y="4909770"/>
            <a:ext cx="708111" cy="70811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3BA8F4A3-8831-A117-A8FC-C62DF9C84B1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972079" y="4964620"/>
            <a:ext cx="628675" cy="62867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0425141B-5803-E4BC-1B7B-5F277A27794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49909" y="4455503"/>
            <a:ext cx="980016" cy="98001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8" name="Textfeld 27">
            <a:extLst>
              <a:ext uri="{FF2B5EF4-FFF2-40B4-BE49-F238E27FC236}">
                <a16:creationId xmlns:a16="http://schemas.microsoft.com/office/drawing/2014/main" id="{2DC4DF8F-5F63-B52D-0904-7708F6101172}"/>
              </a:ext>
            </a:extLst>
          </p:cNvPr>
          <p:cNvSpPr txBox="1"/>
          <p:nvPr/>
        </p:nvSpPr>
        <p:spPr>
          <a:xfrm>
            <a:off x="4437139" y="5577880"/>
            <a:ext cx="2212465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de-DE">
                <a:solidFill>
                  <a:schemeClr val="accent4">
                    <a:lumMod val="75000"/>
                  </a:schemeClr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Custom Connector</a:t>
            </a:r>
          </a:p>
        </p:txBody>
      </p:sp>
      <p:pic>
        <p:nvPicPr>
          <p:cNvPr id="18" name="Picture 2" descr="API Gateway Logo">
            <a:extLst>
              <a:ext uri="{FF2B5EF4-FFF2-40B4-BE49-F238E27FC236}">
                <a16:creationId xmlns:a16="http://schemas.microsoft.com/office/drawing/2014/main" id="{6D52F936-753E-3A00-D7FD-E490392B92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8672" y="2820176"/>
            <a:ext cx="1631595" cy="815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C164F9C2-66D7-2426-4156-14A30257B018}"/>
              </a:ext>
            </a:extLst>
          </p:cNvPr>
          <p:cNvSpPr txBox="1"/>
          <p:nvPr/>
        </p:nvSpPr>
        <p:spPr>
          <a:xfrm>
            <a:off x="5348113" y="3565008"/>
            <a:ext cx="1600118" cy="30777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de-DE" sz="1400">
                <a:solidFill>
                  <a:schemeClr val="accent6">
                    <a:lumMod val="75000"/>
                    <a:lumOff val="25000"/>
                  </a:schemeClr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API Management</a:t>
            </a:r>
          </a:p>
        </p:txBody>
      </p:sp>
    </p:spTree>
    <p:extLst>
      <p:ext uri="{BB962C8B-B14F-4D97-AF65-F5344CB8AC3E}">
        <p14:creationId xmlns:p14="http://schemas.microsoft.com/office/powerpoint/2010/main" val="155477703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square" anchor="t">
            <a:normAutofit fontScale="90000"/>
          </a:bodyPr>
          <a:lstStyle/>
          <a:p>
            <a:r>
              <a:rPr lang="en-US" b="1" noProof="1"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Step by step: Build a connector</a:t>
            </a:r>
          </a:p>
        </p:txBody>
      </p:sp>
      <p:graphicFrame>
        <p:nvGraphicFramePr>
          <p:cNvPr id="27" name="Content Placeholder 1">
            <a:extLst>
              <a:ext uri="{FF2B5EF4-FFF2-40B4-BE49-F238E27FC236}">
                <a16:creationId xmlns:a16="http://schemas.microsoft.com/office/drawing/2014/main" id="{22FC70E7-3951-456E-9504-4C9CD36FF99D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2980468033"/>
              </p:ext>
            </p:extLst>
          </p:nvPr>
        </p:nvGraphicFramePr>
        <p:xfrm>
          <a:off x="457200" y="1153136"/>
          <a:ext cx="10880725" cy="48196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9243742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0F544F2F-7B63-4213-B3D8-8A72732819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>
                                            <p:graphicEl>
                                              <a:dgm id="{0F544F2F-7B63-4213-B3D8-8A727328193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AB20D592-C47D-480E-9FCE-0B6AA553978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>
                                            <p:graphicEl>
                                              <a:dgm id="{AB20D592-C47D-480E-9FCE-0B6AA553978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B892899B-6826-4880-BD30-CE5A016393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7">
                                            <p:graphicEl>
                                              <a:dgm id="{B892899B-6826-4880-BD30-CE5A016393F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78F5EC67-82DB-3A47-BE47-F2ADC99F3A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7">
                                            <p:graphicEl>
                                              <a:dgm id="{78F5EC67-82DB-3A47-BE47-F2ADC99F3A0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4CDB3BC9-94A8-1942-A0D7-A6C018FBD8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7">
                                            <p:graphicEl>
                                              <a:dgm id="{4CDB3BC9-94A8-1942-A0D7-A6C018FBD8C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79082CCF-919A-1445-A443-34F82F2607F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7">
                                            <p:graphicEl>
                                              <a:dgm id="{79082CCF-919A-1445-A443-34F82F2607F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B4969633-86E4-AB41-BEEF-CAF2378C4FF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>
                                            <p:graphicEl>
                                              <a:dgm id="{B4969633-86E4-AB41-BEEF-CAF2378C4FF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BAA21375-639A-3F41-8793-387ACBF9EA6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7">
                                            <p:graphicEl>
                                              <a:dgm id="{BAA21375-639A-3F41-8793-387ACBF9EA6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1464BE0B-40F6-8D46-B696-2F043B63C4F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7">
                                            <p:graphicEl>
                                              <a:dgm id="{1464BE0B-40F6-8D46-B696-2F043B63C4F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66DDA7D1-85F3-464F-A13A-715D7A05735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7">
                                            <p:graphicEl>
                                              <a:dgm id="{66DDA7D1-85F3-464F-A13A-715D7A05735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9BEC0F33-85C8-F249-8219-2A26EF3935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7">
                                            <p:graphicEl>
                                              <a:dgm id="{9BEC0F33-85C8-F249-8219-2A26EF3935D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E439FD84-2DF6-2B48-9EC9-760552FA8F7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7">
                                            <p:graphicEl>
                                              <a:dgm id="{E439FD84-2DF6-2B48-9EC9-760552FA8F7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0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DEBA26BF-3BEB-0B4C-9FF0-E194176C0F7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7">
                                            <p:graphicEl>
                                              <a:dgm id="{DEBA26BF-3BEB-0B4C-9FF0-E194176C0F7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A7BA3752-C53F-CC4D-9971-45D05F271C6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7">
                                            <p:graphicEl>
                                              <a:dgm id="{A7BA3752-C53F-CC4D-9971-45D05F271C6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D3EE60BA-FF61-404F-A1E3-0F4CED78D28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7">
                                            <p:graphicEl>
                                              <a:dgm id="{D3EE60BA-FF61-404F-A1E3-0F4CED78D28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5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A4D0A183-46B9-9346-94F0-9738B492911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7">
                                            <p:graphicEl>
                                              <a:dgm id="{A4D0A183-46B9-9346-94F0-9738B492911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88313EBB-02AE-F348-BDDE-07C72027FDD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7">
                                            <p:graphicEl>
                                              <a:dgm id="{88313EBB-02AE-F348-BDDE-07C72027FDD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graphicEl>
                                              <a:dgm id="{7878AE0B-B1AD-ED4F-84ED-6CA895FE53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7">
                                            <p:graphicEl>
                                              <a:dgm id="{7878AE0B-B1AD-ED4F-84ED-6CA895FE53E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7" grpId="0" uiExpand="1">
        <p:bldSub>
          <a:bldDgm bld="one"/>
        </p:bldSub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STINGTAG" val="TestingValue-JC Was here"/>
  <p:tag name="MIO_GUID" val="1d1652e4-8311-451e-9a8c-b2119571880d"/>
  <p:tag name="MIO_EKGUID" val="d00d6b5a-21c2-4cc1-856e-b908c54af255"/>
  <p:tag name="MIO_UPDATE" val="True"/>
  <p:tag name="MIO_VERSION" val="30.03.2020 15:44:05"/>
  <p:tag name="MIO_DBID" val="12b0c59e-2253-4124-a5e9-470adf4cb168"/>
  <p:tag name="MIO_LASTDOWNLOADED" val="30.03.2020 15:44:52"/>
  <p:tag name="MIO_OBJECTNAME" val="Headline (4)"/>
  <p:tag name="MIO_LASTEDITORNAME" val="Devid Treul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STINGTAG" val="TestingValue-JC Was here"/>
  <p:tag name="MIO_GUID" val="1d1652e4-8311-451e-9a8c-b2119571880d"/>
  <p:tag name="MIO_EKGUID" val="d00d6b5a-21c2-4cc1-856e-b908c54af255"/>
  <p:tag name="MIO_UPDATE" val="True"/>
  <p:tag name="MIO_VERSION" val="30.03.2020 15:44:05"/>
  <p:tag name="MIO_DBID" val="12b0c59e-2253-4124-a5e9-470adf4cb168"/>
  <p:tag name="MIO_LASTDOWNLOADED" val="30.03.2020 15:44:52"/>
  <p:tag name="MIO_OBJECTNAME" val="Headline (4)"/>
  <p:tag name="MIO_LASTEDITORNAME" val="Devid Treuling"/>
</p:tagLst>
</file>

<file path=ppt/theme/theme1.xml><?xml version="1.0" encoding="utf-8"?>
<a:theme xmlns:a="http://schemas.openxmlformats.org/drawingml/2006/main" name="Nordic Summit">
  <a:themeElements>
    <a:clrScheme name="Custom 2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3494BA"/>
      </a:hlink>
      <a:folHlink>
        <a:srgbClr val="3494BA"/>
      </a:folHlink>
    </a:clrScheme>
    <a:fontScheme name="Custom 1">
      <a:majorFont>
        <a:latin typeface="Abel"/>
        <a:ea typeface=""/>
        <a:cs typeface=""/>
      </a:majorFont>
      <a:minorFont>
        <a:latin typeface="A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>
        <a:norm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wer Platform Template">
  <a:themeElements>
    <a:clrScheme name="Power Platform v03">
      <a:dk1>
        <a:srgbClr val="000000"/>
      </a:dk1>
      <a:lt1>
        <a:srgbClr val="FFFFFF"/>
      </a:lt1>
      <a:dk2>
        <a:srgbClr val="2A446F"/>
      </a:dk2>
      <a:lt2>
        <a:srgbClr val="F4F3F5"/>
      </a:lt2>
      <a:accent1>
        <a:srgbClr val="0078D4"/>
      </a:accent1>
      <a:accent2>
        <a:srgbClr val="C03BC4"/>
      </a:accent2>
      <a:accent3>
        <a:srgbClr val="49C5B1"/>
      </a:accent3>
      <a:accent4>
        <a:srgbClr val="F4364C"/>
      </a:accent4>
      <a:accent5>
        <a:srgbClr val="C5B4E3"/>
      </a:accent5>
      <a:accent6>
        <a:srgbClr val="D4EC8E"/>
      </a:accent6>
      <a:hlink>
        <a:srgbClr val="0078D4"/>
      </a:hlink>
      <a:folHlink>
        <a:srgbClr val="C03BC4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Orange">
      <a:srgbClr val="FFA38B"/>
    </a:custClr>
    <a:custClr name="Light Red">
      <a:srgbClr val="FF5C39"/>
    </a:custClr>
    <a:custClr name="Red">
      <a:srgbClr val="F4364C"/>
    </a:custClr>
    <a:custClr name="Dark Red">
      <a:srgbClr val="73262F"/>
    </a:custClr>
    <a:custClr name="Light Purple">
      <a:srgbClr val="C5B4E3"/>
    </a:custClr>
    <a:custClr name="Light Violet">
      <a:srgbClr val="D59ED7"/>
    </a:custClr>
    <a:custClr name="Red Violet">
      <a:srgbClr val="C03BC4"/>
    </a:custClr>
    <a:custClr name="Dark Violet">
      <a:srgbClr val="702573"/>
    </a:custClr>
    <a:custClr name="Light Teal">
      <a:srgbClr val="B9DCD2"/>
    </a:custClr>
    <a:custClr name="Light Blue">
      <a:srgbClr val="8DC8E8"/>
    </a:custClr>
    <a:custClr name="Brilliant Blue">
      <a:srgbClr val="0078D4"/>
    </a:custClr>
    <a:custClr name="Dark Blue">
      <a:srgbClr val="2A446F"/>
    </a:custClr>
    <a:custClr name="Light Green">
      <a:srgbClr val="D4EC8E"/>
    </a:custClr>
    <a:custClr name="Green">
      <a:srgbClr val="8DE971"/>
    </a:custClr>
    <a:custClr name="Biscay Green">
      <a:srgbClr val="49C5B1"/>
    </a:custClr>
    <a:custClr name="Dark Teal">
      <a:srgbClr val="225B62"/>
    </a:custClr>
    <a:custClr name="Pure White">
      <a:srgbClr val="FFFFFF"/>
    </a:custClr>
    <a:custClr name="Off White">
      <a:srgbClr val="F4F3F5"/>
    </a:custClr>
    <a:custClr name="Extra Light Gray">
      <a:srgbClr val="F2F2F2"/>
    </a:custClr>
    <a:custClr name="Pure Black">
      <a:srgbClr val="000000"/>
    </a:custClr>
  </a:custClrLst>
  <a:extLst>
    <a:ext uri="{05A4C25C-085E-4340-85A3-A5531E510DB2}">
      <thm15:themeFamily xmlns:thm15="http://schemas.microsoft.com/office/thememl/2012/main" name="Presentation1" id="{652C1184-2488-449E-A844-5E413F9B44B9}" vid="{6D0986AC-F46A-4ED2-8B22-83492290F94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BBAF0007702342902BB7D0AD35DC50" ma:contentTypeVersion="4" ma:contentTypeDescription="Create a new document." ma:contentTypeScope="" ma:versionID="f145a19ed6cef299ffbbf7905fa64fcb">
  <xsd:schema xmlns:xsd="http://www.w3.org/2001/XMLSchema" xmlns:xs="http://www.w3.org/2001/XMLSchema" xmlns:p="http://schemas.microsoft.com/office/2006/metadata/properties" xmlns:ns2="4d30e73f-76c8-4c20-b7f4-68b27f8c2592" targetNamespace="http://schemas.microsoft.com/office/2006/metadata/properties" ma:root="true" ma:fieldsID="df67c80df4de0615ff1615f05aff1c7a" ns2:_="">
    <xsd:import namespace="4d30e73f-76c8-4c20-b7f4-68b27f8c25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30e73f-76c8-4c20-b7f4-68b27f8c25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BE7BB06-31D3-444D-AC50-07F9D96FA34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CF1B03B-9402-444F-B3B1-5BE933B3BE38}">
  <ds:schemaRefs>
    <ds:schemaRef ds:uri="4d30e73f-76c8-4c20-b7f4-68b27f8c259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414AE90-ED9F-4864-8C23-4F205091EE29}">
  <ds:schemaRefs>
    <ds:schemaRef ds:uri="4d30e73f-76c8-4c20-b7f4-68b27f8c259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5fae8262-b78e-4366-8929-a5d6aac95320}" enabled="1" method="Privileged" siteId="{cf36141c-ddd7-45a7-b073-111f66d0b30c}" removed="0"/>
  <clbl:label id="{87867195-f2b8-4ac2-b0b6-6bb73cb33af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5</Words>
  <Application>Microsoft Office PowerPoint</Application>
  <PresentationFormat>Widescreen</PresentationFormat>
  <Paragraphs>88</Paragraphs>
  <Slides>18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31" baseType="lpstr">
      <vt:lpstr>Abel</vt:lpstr>
      <vt:lpstr>Arial</vt:lpstr>
      <vt:lpstr>Calibri</vt:lpstr>
      <vt:lpstr>Consolas</vt:lpstr>
      <vt:lpstr>Inter</vt:lpstr>
      <vt:lpstr>Montserrat</vt:lpstr>
      <vt:lpstr>Posterama</vt:lpstr>
      <vt:lpstr>Segoe UI</vt:lpstr>
      <vt:lpstr>Segoe UI Light</vt:lpstr>
      <vt:lpstr>Segoe UI Semibold</vt:lpstr>
      <vt:lpstr>Wingdings</vt:lpstr>
      <vt:lpstr>Nordic Summit</vt:lpstr>
      <vt:lpstr>Power Platform Template</vt:lpstr>
      <vt:lpstr>Lab 02 – Building a Custom Connector from Scratch 💪</vt:lpstr>
      <vt:lpstr>Agenda</vt:lpstr>
      <vt:lpstr>PowerPoint Presentation</vt:lpstr>
      <vt:lpstr>Nordic Summit  ❤️ Power Platform</vt:lpstr>
      <vt:lpstr>App Model Driven</vt:lpstr>
      <vt:lpstr>App Phone</vt:lpstr>
      <vt:lpstr>Behind the scenes</vt:lpstr>
      <vt:lpstr>Behind the scenes</vt:lpstr>
      <vt:lpstr>Step by step: Build a connector</vt:lpstr>
      <vt:lpstr>Ways to create a new custom connector</vt:lpstr>
      <vt:lpstr>The process</vt:lpstr>
      <vt:lpstr>Base Setup - URL</vt:lpstr>
      <vt:lpstr>Different Authentication Methods</vt:lpstr>
      <vt:lpstr>DEMO TIME!</vt:lpstr>
      <vt:lpstr>PowerPoint Presentation</vt:lpstr>
      <vt:lpstr>Lab environment</vt:lpstr>
      <vt:lpstr>Lab 02 – Building a Custom Connector from Scratch 💪</vt:lpstr>
      <vt:lpstr>Lab 02 – Wrap u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uro Faller</dc:creator>
  <cp:lastModifiedBy>Daniel Laskewitz</cp:lastModifiedBy>
  <cp:revision>1</cp:revision>
  <dcterms:created xsi:type="dcterms:W3CDTF">2020-02-15T13:58:56Z</dcterms:created>
  <dcterms:modified xsi:type="dcterms:W3CDTF">2024-09-27T10:18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36020b0-6d69-48c1-9bb5-c586c1062b70_Enabled">
    <vt:lpwstr>True</vt:lpwstr>
  </property>
  <property fmtid="{D5CDD505-2E9C-101B-9397-08002B2CF9AE}" pid="3" name="MSIP_Label_236020b0-6d69-48c1-9bb5-c586c1062b70_SiteId">
    <vt:lpwstr>cf36141c-ddd7-45a7-b073-111f66d0b30c</vt:lpwstr>
  </property>
  <property fmtid="{D5CDD505-2E9C-101B-9397-08002B2CF9AE}" pid="4" name="MSIP_Label_236020b0-6d69-48c1-9bb5-c586c1062b70_Owner">
    <vt:lpwstr>guro.faller@avanade.com</vt:lpwstr>
  </property>
  <property fmtid="{D5CDD505-2E9C-101B-9397-08002B2CF9AE}" pid="5" name="MSIP_Label_236020b0-6d69-48c1-9bb5-c586c1062b70_SetDate">
    <vt:lpwstr>2020-02-15T13:59:45.5934306Z</vt:lpwstr>
  </property>
  <property fmtid="{D5CDD505-2E9C-101B-9397-08002B2CF9AE}" pid="6" name="MSIP_Label_236020b0-6d69-48c1-9bb5-c586c1062b70_Name">
    <vt:lpwstr>Confidential</vt:lpwstr>
  </property>
  <property fmtid="{D5CDD505-2E9C-101B-9397-08002B2CF9AE}" pid="7" name="MSIP_Label_236020b0-6d69-48c1-9bb5-c586c1062b70_Application">
    <vt:lpwstr>Microsoft Azure Information Protection</vt:lpwstr>
  </property>
  <property fmtid="{D5CDD505-2E9C-101B-9397-08002B2CF9AE}" pid="8" name="MSIP_Label_236020b0-6d69-48c1-9bb5-c586c1062b70_ActionId">
    <vt:lpwstr>9b6ec75e-0c9a-4a29-a1f2-82873bad932f</vt:lpwstr>
  </property>
  <property fmtid="{D5CDD505-2E9C-101B-9397-08002B2CF9AE}" pid="9" name="MSIP_Label_236020b0-6d69-48c1-9bb5-c586c1062b70_Extended_MSFT_Method">
    <vt:lpwstr>Automatic</vt:lpwstr>
  </property>
  <property fmtid="{D5CDD505-2E9C-101B-9397-08002B2CF9AE}" pid="10" name="MSIP_Label_5fae8262-b78e-4366-8929-a5d6aac95320_Enabled">
    <vt:lpwstr>True</vt:lpwstr>
  </property>
  <property fmtid="{D5CDD505-2E9C-101B-9397-08002B2CF9AE}" pid="11" name="MSIP_Label_5fae8262-b78e-4366-8929-a5d6aac95320_SiteId">
    <vt:lpwstr>cf36141c-ddd7-45a7-b073-111f66d0b30c</vt:lpwstr>
  </property>
  <property fmtid="{D5CDD505-2E9C-101B-9397-08002B2CF9AE}" pid="12" name="MSIP_Label_5fae8262-b78e-4366-8929-a5d6aac95320_SetDate">
    <vt:lpwstr>2020-02-15T13:59:45.5944276Z</vt:lpwstr>
  </property>
  <property fmtid="{D5CDD505-2E9C-101B-9397-08002B2CF9AE}" pid="13" name="MSIP_Label_5fae8262-b78e-4366-8929-a5d6aac95320_Name">
    <vt:lpwstr>Recipients Have Full Control</vt:lpwstr>
  </property>
  <property fmtid="{D5CDD505-2E9C-101B-9397-08002B2CF9AE}" pid="14" name="MSIP_Label_5fae8262-b78e-4366-8929-a5d6aac95320_ActionId">
    <vt:lpwstr>9b6ec75e-0c9a-4a29-a1f2-82873bad932f</vt:lpwstr>
  </property>
  <property fmtid="{D5CDD505-2E9C-101B-9397-08002B2CF9AE}" pid="15" name="MSIP_Label_5fae8262-b78e-4366-8929-a5d6aac95320_Extended_MSFT_Method">
    <vt:lpwstr>Automatic</vt:lpwstr>
  </property>
  <property fmtid="{D5CDD505-2E9C-101B-9397-08002B2CF9AE}" pid="16" name="Sensitivity">
    <vt:lpwstr>Confidential Recipients Have Full Control</vt:lpwstr>
  </property>
  <property fmtid="{D5CDD505-2E9C-101B-9397-08002B2CF9AE}" pid="17" name="ContentTypeId">
    <vt:lpwstr>0x01010080BBAF0007702342902BB7D0AD35DC50</vt:lpwstr>
  </property>
  <property fmtid="{D5CDD505-2E9C-101B-9397-08002B2CF9AE}" pid="18" name="MediaServiceImageTags">
    <vt:lpwstr/>
  </property>
  <property fmtid="{D5CDD505-2E9C-101B-9397-08002B2CF9AE}" pid="19" name="Order">
    <vt:r8>292900</vt:r8>
  </property>
  <property fmtid="{D5CDD505-2E9C-101B-9397-08002B2CF9AE}" pid="20" name="ComplianceAssetId">
    <vt:lpwstr/>
  </property>
  <property fmtid="{D5CDD505-2E9C-101B-9397-08002B2CF9AE}" pid="21" name="_ExtendedDescription">
    <vt:lpwstr/>
  </property>
  <property fmtid="{D5CDD505-2E9C-101B-9397-08002B2CF9AE}" pid="22" name="TriggerFlowInfo">
    <vt:lpwstr/>
  </property>
</Properties>
</file>